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43"/>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Analysis by Retailer for Region" id="{36D242E3-6AE7-4E19-B63A-351E4D8DB318}">
          <p14:sldIdLst>
            <p14:sldId id="2147475169"/>
            <p14:sldId id="2147475170"/>
            <p14:sldId id="2147475171"/>
            <p14:sldId id="2147475172"/>
            <p14:sldId id="2147475173"/>
          </p14:sldIdLst>
        </p14:section>
        <p14:section name="Mix Analysis by Retailer for Market" id="{E3288A54-66AF-40E5-8E97-592B23850DA8}">
          <p14:sldIdLst>
            <p14:sldId id="2147475174"/>
            <p14:sldId id="2147475175"/>
            <p14:sldId id="2147475176"/>
            <p14:sldId id="2147475177"/>
            <p14:sldId id="2147475178"/>
          </p14:sldIdLst>
        </p14:section>
        <p14:section name="Mix Analysis by Sector" id="{A77A7D31-A07C-40D7-8E17-E0C8F5F4F540}">
          <p14:sldIdLst>
            <p14:sldId id="2147475179"/>
            <p14:sldId id="2147475180"/>
            <p14:sldId id="2147475181"/>
            <p14:sldId id="2147475182"/>
          </p14:sldIdLst>
        </p14:section>
        <p14:section name="Mix Analysis by Segment" id="{99E994D2-F004-4261-A940-83C0904D09FD}">
          <p14:sldIdLst>
            <p14:sldId id="2147475183"/>
            <p14:sldId id="2147475184"/>
            <p14:sldId id="2147475185"/>
            <p14:sldId id="2147475186"/>
          </p14:sldIdLst>
        </p14:section>
        <p14:section name="Mix Analysis bySKU" id="{B3467CAF-FB51-41A0-9150-776FF74D0751}">
          <p14:sldIdLst>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CFCA"/>
    <a:srgbClr val="A6DAD6"/>
    <a:srgbClr val="B2DFDC"/>
    <a:srgbClr val="43A39C"/>
    <a:srgbClr val="48AEA6"/>
    <a:srgbClr val="FF6969"/>
    <a:srgbClr val="FF7171"/>
    <a:srgbClr val="FF5B5B"/>
    <a:srgbClr val="FF6565"/>
    <a:srgbClr val="FF79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notesMaster" Target="notesMasters/notesMaster1.xml"/><Relationship Id="rId44" Type="http://schemas.openxmlformats.org/officeDocument/2006/relationships/presProps" Target="presProps.xml"/><Relationship Id="rId45" Type="http://schemas.openxmlformats.org/officeDocument/2006/relationships/viewProps" Target="viewProps.xml"/><Relationship Id="rId46" Type="http://schemas.openxmlformats.org/officeDocument/2006/relationships/theme" Target="theme/theme1.xml"/><Relationship Id="rId47" Type="http://schemas.openxmlformats.org/officeDocument/2006/relationships/tableStyles" Target="tableStyles.xml"/><Relationship Id="rId48" Type="http://schemas.microsoft.com/office/2015/10/relationships/revisionInfo" Target="revisionInfo.xml"/><Relationship Id="rId49"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B2DFDC"/>
              </a:solidFill>
              <a:ln w="10160">
                <a:solidFill>
                  <a:srgbClr val="8DC3C3"/>
                </a:solidFill>
              </a:ln>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F2A49D5-F3A0-4684-8ED2-E760F0F89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781CE3C-1178-4B97-85B3-499956449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70CF47C-F179-41E0-A8CE-CD9095D7C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FF69121-D8E4-4170-8A8B-61729F444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7E85481-F6F4-44C8-9EA2-5CEEABAA94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EDC25EB-A953-4AF8-99D3-01C2F58F10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20895D1-5915-4FA7-9526-05556AB79A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BEEB875-C6A9-4531-884A-55B363C7D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248</c:v>
                </c:pt>
              </c:numCache>
            </c:numRef>
          </c:xVal>
          <c:yVal>
            <c:numRef>
              <c:f>Sheet1!$B$2:$B$2</c:f>
              <c:numCache>
                <c:formatCode>General</c:formatCode>
                <c:ptCount val="1"/>
                <c:pt idx="0">
                  <c:v>0.6549</c:v>
                </c:pt>
              </c:numCache>
            </c:numRef>
          </c:yVal>
          <c:bubbleSize>
            <c:numRef>
              <c:f>Sheet1!$C$2:$C$2</c:f>
              <c:numCache>
                <c:formatCode>General</c:formatCode>
                <c:ptCount val="1"/>
                <c:pt idx="0">
                  <c:v>5594958.62370000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49"/>
        <c:crossBetween val="midCat"/>
      </c:valAx>
      <c:valAx>
        <c:axId val="1011451359"/>
        <c:scaling>
          <c:orientation val="minMax"/>
          <c:max val="1.14588"/>
          <c:min val="0.2839200000000000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324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BFBF"/>
              </a:solidFill>
              <a:ln w="10160">
                <a:solidFill>
                  <a:srgbClr val="FF9B9B"/>
                </a:solidFill>
              </a:ln>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w="10160">
                <a:solidFill>
                  <a:srgbClr val="FF5F5F"/>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a:ln w="10160">
                <a:solidFill>
                  <a:srgbClr val="FF5F5F"/>
                </a:solidFill>
              </a:ln>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CA1CB97-7852-4948-BE9A-F48D55FECE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4683384-B050-47C9-81F2-2B0EDB264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7587927-D5B9-4D24-927B-38070A8D4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1071930-30A0-46D2-A4E3-5997537D4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21EC558-A864-49D1-95E1-848BF5EA3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54D4922-D3D0-4A08-8D03-BAC69D031E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99CC4B6-5822-45EB-AFCF-95C37DADA4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9391705-4D96-4C38-82E8-D4EC926983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89</c:v>
                </c:pt>
                <c:pt idx="1">
                  <c:v>2.1586</c:v>
                </c:pt>
                <c:pt idx="2">
                  <c:v>2.1592</c:v>
                </c:pt>
              </c:numCache>
            </c:numRef>
          </c:xVal>
          <c:yVal>
            <c:numRef>
              <c:f>Sheet1!$B$2:$B$4</c:f>
              <c:numCache>
                <c:formatCode>General</c:formatCode>
                <c:ptCount val="3"/>
                <c:pt idx="0">
                  <c:v>0.4199</c:v>
                </c:pt>
                <c:pt idx="1">
                  <c:v>0.4195</c:v>
                </c:pt>
                <c:pt idx="2">
                  <c:v>0.4198</c:v>
                </c:pt>
              </c:numCache>
            </c:numRef>
          </c:yVal>
          <c:bubbleSize>
            <c:numRef>
              <c:f>Sheet1!$C$2:$C$4</c:f>
              <c:numCache>
                <c:formatCode>General</c:formatCode>
                <c:ptCount val="3"/>
                <c:pt idx="0">
                  <c:v>89489.1704</c:v>
                </c:pt>
                <c:pt idx="1">
                  <c:v>78650.09289999999</c:v>
                </c:pt>
                <c:pt idx="2">
                  <c:v>1046552.1157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78794252508744"/>
        <c:crossBetween val="midCat"/>
      </c:valAx>
      <c:valAx>
        <c:axId val="1011451359"/>
        <c:scaling>
          <c:orientation val="minMax"/>
          <c:max val="0.86388"/>
          <c:min val="0.09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139048874360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a:ln w="10160">
                <a:solidFill>
                  <a:srgbClr val="BCBBBB"/>
                </a:solidFill>
              </a:ln>
            </c:spPr>
            <c:extLst>
              <c:ext xmlns:c16="http://schemas.microsoft.com/office/drawing/2014/chart" uri="{C3380CC4-5D6E-409C-BE32-E72D297353CC}">
                <c16:uniqueId val="{00000001-CFF5-4D9B-9947-2A90D7752FBB}"/>
              </c:ext>
            </c:extLst>
          </c:dPt>
          <c:dPt>
            <c:idx val="1"/>
            <c:invertIfNegative val="0"/>
            <c:bubble3D val="0"/>
            <c:spPr>
              <a:solidFill>
                <a:srgbClr val="48AEA6"/>
              </a:solidFill>
              <a:ln w="10160">
                <a:solidFill>
                  <a:srgbClr val="439595"/>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E9E66C7-FC49-4071-9CE6-1BCB22F89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4B7E492-AF43-420F-911D-8CE2226C6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14F5DDC-EFAF-4166-BA33-9C3571E02A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EFDC2E6-11DB-4D21-AE15-E262409C1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AE134BC-680C-4159-9076-6BED346E9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546170D-B356-4C91-B0D0-07342E7D80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3E16FE8-B271-4470-B236-FCDFFFC5E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8A3E308-0780-4AB6-A7C6-00D1E8632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675</c:v>
                </c:pt>
                <c:pt idx="1">
                  <c:v>1.3365</c:v>
                </c:pt>
              </c:numCache>
            </c:numRef>
          </c:xVal>
          <c:yVal>
            <c:numRef>
              <c:f>Sheet1!$B$2:$B$3</c:f>
              <c:numCache>
                <c:formatCode>General</c:formatCode>
                <c:ptCount val="2"/>
                <c:pt idx="0">
                  <c:v>0.3388</c:v>
                </c:pt>
                <c:pt idx="1">
                  <c:v>0.6511</c:v>
                </c:pt>
              </c:numCache>
            </c:numRef>
          </c:yVal>
          <c:bubbleSize>
            <c:numRef>
              <c:f>Sheet1!$C$2:$C$3</c:f>
              <c:numCache>
                <c:formatCode>General</c:formatCode>
                <c:ptCount val="2"/>
                <c:pt idx="0">
                  <c:v>912079.5515999999</c:v>
                </c:pt>
                <c:pt idx="1">
                  <c:v>386945.9783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18260616620213"/>
        <c:crossBetween val="midCat"/>
      </c:valAx>
      <c:valAx>
        <c:axId val="1011451359"/>
        <c:scaling>
          <c:orientation val="minMax"/>
          <c:max val="1.1413200000000001"/>
          <c:min val="0.031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85927345234392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B2DFDC"/>
              </a:solidFill>
              <a:ln w="10160">
                <a:solidFill>
                  <a:srgbClr val="8DC3C3"/>
                </a:solidFill>
              </a:ln>
            </c:spPr>
            <c:extLst>
              <c:ext xmlns:c16="http://schemas.microsoft.com/office/drawing/2014/chart" uri="{C3380CC4-5D6E-409C-BE32-E72D297353CC}">
                <c16:uniqueId val="{00000001-CFF5-4D9B-9947-2A90D7752FBB}"/>
              </c:ext>
            </c:extLst>
          </c:dPt>
          <c:dPt>
            <c:idx val="1"/>
            <c:invertIfNegative val="0"/>
            <c:bubble3D val="0"/>
            <c:spPr>
              <a:solidFill>
                <a:srgbClr val="B2DFDC"/>
              </a:solidFill>
              <a:ln w="10160">
                <a:solidFill>
                  <a:srgbClr val="8DC3C3"/>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0A7A358-738A-4AFB-9295-0447695D6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5255CC1-7B6D-491A-8DCD-1F343B474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811C987-0210-474D-A095-30574F8A4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6A6EA90-5CEF-4B6D-80EA-63764B63D1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23F79A6-9448-44D1-BEC9-39854E2349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C58B276-FD40-40EC-AE68-B57BC8736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9634407-C43E-4992-8F0A-8AC6DB92B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34B8E74-30BD-4A92-AF19-30F68D0E4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993</c:v>
                </c:pt>
                <c:pt idx="1">
                  <c:v>1.324</c:v>
                </c:pt>
              </c:numCache>
            </c:numRef>
          </c:xVal>
          <c:yVal>
            <c:numRef>
              <c:f>Sheet1!$B$2:$B$3</c:f>
              <c:numCache>
                <c:formatCode>General</c:formatCode>
                <c:ptCount val="2"/>
                <c:pt idx="0">
                  <c:v>0.3686</c:v>
                </c:pt>
                <c:pt idx="1">
                  <c:v>0.6553</c:v>
                </c:pt>
              </c:numCache>
            </c:numRef>
          </c:yVal>
          <c:bubbleSize>
            <c:numRef>
              <c:f>Sheet1!$C$2:$C$3</c:f>
              <c:numCache>
                <c:formatCode>General</c:formatCode>
                <c:ptCount val="2"/>
                <c:pt idx="0">
                  <c:v>11591402.168600012</c:v>
                </c:pt>
                <c:pt idx="1">
                  <c:v>4851507.52330000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31913061004828"/>
        <c:crossBetween val="midCat"/>
      </c:valAx>
      <c:valAx>
        <c:axId val="1011451359"/>
        <c:scaling>
          <c:orientation val="minMax"/>
          <c:max val="1.14636"/>
          <c:min val="0.0548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01639418769322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B2DFDC"/>
              </a:solidFill>
              <a:ln w="10160">
                <a:solidFill>
                  <a:srgbClr val="8DC3C3"/>
                </a:solidFill>
              </a:ln>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w="10160">
                <a:solidFill>
                  <a:srgbClr val="BCBBBB"/>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53203E9-2D3A-4EF2-BB27-3626B82F4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D09FB54-AD10-49E4-B499-5377404BD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B2D2BDA-5103-40F6-A347-FAE8D4911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E6F798B-7B75-4123-A49E-BE1AAC65E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8A9071C-5704-4CBE-97BD-8E4A90314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D6E9636-9183-420A-9B9D-81FD06538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D27A00E0-34DC-4485-871B-251CA29C1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0E5A38F-C324-41CB-B254-FBD1BE851E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814</c:v>
                </c:pt>
                <c:pt idx="1">
                  <c:v>1.3228</c:v>
                </c:pt>
              </c:numCache>
            </c:numRef>
          </c:xVal>
          <c:yVal>
            <c:numRef>
              <c:f>Sheet1!$B$2:$B$3</c:f>
              <c:numCache>
                <c:formatCode>General</c:formatCode>
                <c:ptCount val="2"/>
                <c:pt idx="0">
                  <c:v>0.3546</c:v>
                </c:pt>
                <c:pt idx="1">
                  <c:v>0.6533</c:v>
                </c:pt>
              </c:numCache>
            </c:numRef>
          </c:yVal>
          <c:bubbleSize>
            <c:numRef>
              <c:f>Sheet1!$C$2:$C$3</c:f>
              <c:numCache>
                <c:formatCode>General</c:formatCode>
                <c:ptCount val="2"/>
                <c:pt idx="0">
                  <c:v>952941.4383000002</c:v>
                </c:pt>
                <c:pt idx="1">
                  <c:v>356505.1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922967404644"/>
        <c:crossBetween val="midCat"/>
      </c:valAx>
      <c:valAx>
        <c:axId val="1011451359"/>
        <c:scaling>
          <c:orientation val="minMax"/>
          <c:max val="1.14396"/>
          <c:min val="0.04368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64927747757603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B2DFDC"/>
              </a:solidFill>
              <a:ln w="10160">
                <a:solidFill>
                  <a:srgbClr val="8DC3C3"/>
                </a:solidFill>
              </a:ln>
            </c:spPr>
            <c:extLst>
              <c:ext xmlns:c16="http://schemas.microsoft.com/office/drawing/2014/chart" uri="{C3380CC4-5D6E-409C-BE32-E72D297353CC}">
                <c16:uniqueId val="{00000001-CFF5-4D9B-9947-2A90D7752FBB}"/>
              </c:ext>
            </c:extLst>
          </c:dPt>
          <c:dPt>
            <c:idx val="1"/>
            <c:invertIfNegative val="0"/>
            <c:bubble3D val="0"/>
            <c:spPr>
              <a:solidFill>
                <a:srgbClr val="B2DFDC"/>
              </a:solidFill>
              <a:ln w="10160">
                <a:solidFill>
                  <a:srgbClr val="8DC3C3"/>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1E10280-CC8F-4300-900F-2FB82B4B1E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1440A7D-39C9-495A-966B-289B8E645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D7124B5-622B-4796-934B-0CCAD0426E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9425067-4C40-4C4F-B96D-A8104BA0F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DD74508-B33B-4594-8194-A6A1654330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7D7F945-F7D4-4974-B2AF-107B9CA91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4615350-80E4-4171-92A5-2DC7208B8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5C58451-4A61-423A-AAA7-BB2A336615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956</c:v>
                </c:pt>
                <c:pt idx="1">
                  <c:v>1.3248</c:v>
                </c:pt>
              </c:numCache>
            </c:numRef>
          </c:xVal>
          <c:yVal>
            <c:numRef>
              <c:f>Sheet1!$B$2:$B$3</c:f>
              <c:numCache>
                <c:formatCode>General</c:formatCode>
                <c:ptCount val="2"/>
                <c:pt idx="0">
                  <c:v>0.3656</c:v>
                </c:pt>
                <c:pt idx="1">
                  <c:v>0.6549</c:v>
                </c:pt>
              </c:numCache>
            </c:numRef>
          </c:yVal>
          <c:bubbleSize>
            <c:numRef>
              <c:f>Sheet1!$C$2:$C$3</c:f>
              <c:numCache>
                <c:formatCode>General</c:formatCode>
                <c:ptCount val="2"/>
                <c:pt idx="0">
                  <c:v>13456423.158500016</c:v>
                </c:pt>
                <c:pt idx="1">
                  <c:v>5594958.6237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6084684779724"/>
        <c:crossBetween val="midCat"/>
      </c:valAx>
      <c:valAx>
        <c:axId val="1011451359"/>
        <c:scaling>
          <c:orientation val="minMax"/>
          <c:max val="1.14588"/>
          <c:min val="0.0524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97852691240072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BFBF"/>
              </a:solidFill>
              <a:ln w="10160">
                <a:solidFill>
                  <a:srgbClr val="FF9B9B"/>
                </a:solidFill>
              </a:ln>
            </c:spPr>
            <c:extLst>
              <c:ext xmlns:c16="http://schemas.microsoft.com/office/drawing/2014/chart" uri="{C3380CC4-5D6E-409C-BE32-E72D297353CC}">
                <c16:uniqueId val="{00000001-CFF5-4D9B-9947-2A90D7752FBB}"/>
              </c:ext>
            </c:extLst>
          </c:dPt>
          <c:dPt>
            <c:idx val="1"/>
            <c:invertIfNegative val="0"/>
            <c:bubble3D val="0"/>
            <c:spPr>
              <a:solidFill>
                <a:srgbClr val="48AEA6"/>
              </a:solidFill>
              <a:ln w="10160">
                <a:solidFill>
                  <a:srgbClr val="439595"/>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a:ln w="10160">
                <a:solidFill>
                  <a:srgbClr val="BCBBBB"/>
                </a:solidFill>
              </a:ln>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C76D0EC-1933-481F-BFBE-4579D22477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CC73C16-DC87-460A-8950-FD798FE9D6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6EF6C76-4830-4C7D-9F8B-4087D8BCA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768F50C-F912-4446-BC9F-1115CBE84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C9C5267-F75E-4E3C-9146-8BAD510F6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3DE4B59-3961-4C05-AF73-5160F11DED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5F6C2F1-C0A5-42FF-A817-6E1DF5428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F84386E-3720-4F5F-A399-B27A157DB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89</c:v>
                </c:pt>
                <c:pt idx="1">
                  <c:v>1.199</c:v>
                </c:pt>
                <c:pt idx="2">
                  <c:v>0.2675</c:v>
                </c:pt>
              </c:numCache>
            </c:numRef>
          </c:xVal>
          <c:yVal>
            <c:numRef>
              <c:f>Sheet1!$B$2:$B$4</c:f>
              <c:numCache>
                <c:formatCode>General</c:formatCode>
                <c:ptCount val="3"/>
                <c:pt idx="0">
                  <c:v>0.4199</c:v>
                </c:pt>
                <c:pt idx="1">
                  <c:v>0.7206</c:v>
                </c:pt>
                <c:pt idx="2">
                  <c:v>0.3388</c:v>
                </c:pt>
              </c:numCache>
            </c:numRef>
          </c:yVal>
          <c:bubbleSize>
            <c:numRef>
              <c:f>Sheet1!$C$2:$C$4</c:f>
              <c:numCache>
                <c:formatCode>General</c:formatCode>
                <c:ptCount val="3"/>
                <c:pt idx="0">
                  <c:v>89489.17039999999</c:v>
                </c:pt>
                <c:pt idx="1">
                  <c:v>297456.80799999996</c:v>
                </c:pt>
                <c:pt idx="2">
                  <c:v>912079.5515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18132458704179"/>
        <c:crossBetween val="midCat"/>
      </c:valAx>
      <c:valAx>
        <c:axId val="1011451359"/>
        <c:scaling>
          <c:orientation val="minMax"/>
          <c:max val="1.2247199999999998"/>
          <c:min val="0.031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1109666014151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a:solidFill>
                  <a:srgbClr val="FF5F5F"/>
                </a:solidFill>
              </a:ln>
            </c:spPr>
            <c:extLst>
              <c:ext xmlns:c16="http://schemas.microsoft.com/office/drawing/2014/chart" uri="{C3380CC4-5D6E-409C-BE32-E72D297353CC}">
                <c16:uniqueId val="{00000001-CFF5-4D9B-9947-2A90D7752FBB}"/>
              </c:ext>
            </c:extLst>
          </c:dPt>
          <c:dPt>
            <c:idx val="1"/>
            <c:invertIfNegative val="0"/>
            <c:bubble3D val="0"/>
            <c:spPr>
              <a:solidFill>
                <a:srgbClr val="48AEA6"/>
              </a:solidFill>
              <a:ln w="10160">
                <a:solidFill>
                  <a:srgbClr val="439595"/>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B2DFDC"/>
              </a:solidFill>
              <a:ln w="10160">
                <a:solidFill>
                  <a:srgbClr val="8DC3C3"/>
                </a:solidFill>
              </a:ln>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8B593FA-974B-40EA-A9A5-762ED83949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CCE776C-716C-4E15-A010-D8AF28228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6100874-2FA3-4BD8-A274-3A53AEDB9D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F112622-FE8A-4D9B-912D-6848B0FBD9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93AB864-DF79-44B0-A343-0597679EC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890D633-7CCA-4EB8-9EC2-3DC388F20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D6F18A0-F792-4B72-B294-1A57B86F42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FBE5551-3471-491F-A287-BE08F89CA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92</c:v>
                </c:pt>
                <c:pt idx="1">
                  <c:v>1.1967</c:v>
                </c:pt>
                <c:pt idx="2">
                  <c:v>0.2993</c:v>
                </c:pt>
              </c:numCache>
            </c:numRef>
          </c:xVal>
          <c:yVal>
            <c:numRef>
              <c:f>Sheet1!$B$2:$B$4</c:f>
              <c:numCache>
                <c:formatCode>General</c:formatCode>
                <c:ptCount val="3"/>
                <c:pt idx="0">
                  <c:v>0.4198</c:v>
                </c:pt>
                <c:pt idx="1">
                  <c:v>0.7201</c:v>
                </c:pt>
                <c:pt idx="2">
                  <c:v>0.3686</c:v>
                </c:pt>
              </c:numCache>
            </c:numRef>
          </c:yVal>
          <c:bubbleSize>
            <c:numRef>
              <c:f>Sheet1!$C$2:$C$4</c:f>
              <c:numCache>
                <c:formatCode>General</c:formatCode>
                <c:ptCount val="3"/>
                <c:pt idx="0">
                  <c:v>1046552.1157999999</c:v>
                </c:pt>
                <c:pt idx="1">
                  <c:v>3804955.4074999997</c:v>
                </c:pt>
                <c:pt idx="2">
                  <c:v>11591402.16860001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319727141543853"/>
        <c:crossBetween val="midCat"/>
      </c:valAx>
      <c:valAx>
        <c:axId val="1011451359"/>
        <c:scaling>
          <c:orientation val="minMax"/>
          <c:max val="1.2241199999999999"/>
          <c:min val="0.0548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2534018165397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a:solidFill>
                  <a:srgbClr val="FF5F5F"/>
                </a:solidFill>
              </a:ln>
            </c:spPr>
            <c:extLst>
              <c:ext xmlns:c16="http://schemas.microsoft.com/office/drawing/2014/chart" uri="{C3380CC4-5D6E-409C-BE32-E72D297353CC}">
                <c16:uniqueId val="{00000001-CFF5-4D9B-9947-2A90D7752FBB}"/>
              </c:ext>
            </c:extLst>
          </c:dPt>
          <c:dPt>
            <c:idx val="1"/>
            <c:invertIfNegative val="0"/>
            <c:bubble3D val="0"/>
            <c:spPr>
              <a:solidFill>
                <a:srgbClr val="48AEA6"/>
              </a:solidFill>
              <a:ln w="10160">
                <a:solidFill>
                  <a:srgbClr val="439595"/>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B2DFDC"/>
              </a:solidFill>
              <a:ln w="10160">
                <a:solidFill>
                  <a:srgbClr val="8DC3C3"/>
                </a:solidFill>
              </a:ln>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1B1FBC6-782F-49BC-8D06-1A93ABB70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BFF0134-9069-4648-B422-047980DA6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69E8D43-9503-4CC6-A321-D31E1781D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DCE9876-57A2-4D22-B6F1-48C14BE646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E9113EA-6460-40D4-BAFE-9634CFCFE9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44F94CE-94E8-4C9C-A50B-956C5E42DF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B657B36-80E8-4C98-9F85-68C069286D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2A5E526-069F-4FC6-98DE-18EEA07C8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86</c:v>
                </c:pt>
                <c:pt idx="1">
                  <c:v>1.1921</c:v>
                </c:pt>
                <c:pt idx="2">
                  <c:v>0.2814</c:v>
                </c:pt>
              </c:numCache>
            </c:numRef>
          </c:xVal>
          <c:yVal>
            <c:numRef>
              <c:f>Sheet1!$B$2:$B$4</c:f>
              <c:numCache>
                <c:formatCode>General</c:formatCode>
                <c:ptCount val="3"/>
                <c:pt idx="0">
                  <c:v>0.4195</c:v>
                </c:pt>
                <c:pt idx="1">
                  <c:v>0.7195</c:v>
                </c:pt>
                <c:pt idx="2">
                  <c:v>0.3546</c:v>
                </c:pt>
              </c:numCache>
            </c:numRef>
          </c:yVal>
          <c:bubbleSize>
            <c:numRef>
              <c:f>Sheet1!$C$2:$C$4</c:f>
              <c:numCache>
                <c:formatCode>General</c:formatCode>
                <c:ptCount val="3"/>
                <c:pt idx="0">
                  <c:v>78650.09289999999</c:v>
                </c:pt>
                <c:pt idx="1">
                  <c:v>277855.02910000004</c:v>
                </c:pt>
                <c:pt idx="2">
                  <c:v>952941.43830000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9272525786786"/>
        <c:crossBetween val="midCat"/>
      </c:valAx>
      <c:valAx>
        <c:axId val="1011451359"/>
        <c:scaling>
          <c:orientation val="minMax"/>
          <c:max val="1.2234"/>
          <c:min val="0.04368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87395327752398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a:solidFill>
                  <a:srgbClr val="FF5F5F"/>
                </a:solidFill>
              </a:ln>
            </c:spPr>
            <c:extLst>
              <c:ext xmlns:c16="http://schemas.microsoft.com/office/drawing/2014/chart" uri="{C3380CC4-5D6E-409C-BE32-E72D297353CC}">
                <c16:uniqueId val="{00000001-CFF5-4D9B-9947-2A90D7752FBB}"/>
              </c:ext>
            </c:extLst>
          </c:dPt>
          <c:dPt>
            <c:idx val="1"/>
            <c:invertIfNegative val="0"/>
            <c:bubble3D val="0"/>
            <c:spPr>
              <a:solidFill>
                <a:srgbClr val="48AEA6"/>
              </a:solidFill>
              <a:ln w="10160">
                <a:solidFill>
                  <a:srgbClr val="439595"/>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B2DFDC"/>
              </a:solidFill>
              <a:ln w="10160">
                <a:solidFill>
                  <a:srgbClr val="8DC3C3"/>
                </a:solidFill>
              </a:ln>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619FF3E-26AE-4BEE-BFA8-35AC02C765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22AF712-B5C0-4757-A755-3E98C62FD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5EFCFEB-8CCB-4333-9C49-246CC24C82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AD7BEA9-6588-46F4-B9F2-C80A64E2E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1CC0C9B-F51D-4636-8C98-0D6D96BED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C658991-D699-4969-AAF0-55C35CAA6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6293F9C-5C3A-4351-8AB8-329A573CC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8BBB1C8-F767-4B03-8BFB-48A4CE50B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91</c:v>
                </c:pt>
                <c:pt idx="1">
                  <c:v>1.1965</c:v>
                </c:pt>
                <c:pt idx="2">
                  <c:v>0.2956</c:v>
                </c:pt>
              </c:numCache>
            </c:numRef>
          </c:xVal>
          <c:yVal>
            <c:numRef>
              <c:f>Sheet1!$B$2:$B$4</c:f>
              <c:numCache>
                <c:formatCode>General</c:formatCode>
                <c:ptCount val="3"/>
                <c:pt idx="0">
                  <c:v>0.4198</c:v>
                </c:pt>
                <c:pt idx="1">
                  <c:v>0.7201</c:v>
                </c:pt>
                <c:pt idx="2">
                  <c:v>0.3656</c:v>
                </c:pt>
              </c:numCache>
            </c:numRef>
          </c:yVal>
          <c:bubbleSize>
            <c:numRef>
              <c:f>Sheet1!$C$2:$C$4</c:f>
              <c:numCache>
                <c:formatCode>General</c:formatCode>
                <c:ptCount val="3"/>
                <c:pt idx="0">
                  <c:v>1214691.3791000003</c:v>
                </c:pt>
                <c:pt idx="1">
                  <c:v>4380267.244600002</c:v>
                </c:pt>
                <c:pt idx="2">
                  <c:v>13456423.15850001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61869404677"/>
        <c:crossBetween val="midCat"/>
      </c:valAx>
      <c:valAx>
        <c:axId val="1011451359"/>
        <c:scaling>
          <c:orientation val="minMax"/>
          <c:max val="1.2241199999999999"/>
          <c:min val="0.0524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21548018710897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BFBF"/>
              </a:solidFill>
              <a:ln w="10160">
                <a:solidFill>
                  <a:srgbClr val="FF9B9B"/>
                </a:solidFill>
              </a:ln>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w="10160">
                <a:solidFill>
                  <a:srgbClr val="FF5F5F"/>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a:ln w="10160">
                <a:solidFill>
                  <a:srgbClr val="FF5F5F"/>
                </a:solidFill>
              </a:ln>
            </c:spPr>
            <c:extLst>
              <c:ext xmlns:c16="http://schemas.microsoft.com/office/drawing/2014/chart" uri="{C3380CC4-5D6E-409C-BE32-E72D297353CC}">
                <c16:uniqueId val="{00000005-CFF5-4D9B-9947-2A90D7752FBB}"/>
              </c:ext>
            </c:extLst>
          </c:dPt>
          <c:dPt>
            <c:idx val="3"/>
            <c:invertIfNegative val="0"/>
            <c:bubble3D val="0"/>
            <c:spPr>
              <a:solidFill>
                <a:srgbClr val="48AEA6"/>
              </a:solidFill>
              <a:ln w="10160">
                <a:solidFill>
                  <a:srgbClr val="439595"/>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a:ln w="10160">
                <a:solidFill>
                  <a:srgbClr val="FF5F5F"/>
                </a:solidFill>
              </a:ln>
            </c:spPr>
            <c:extLst>
              <c:ext xmlns:c16="http://schemas.microsoft.com/office/drawing/2014/chart" uri="{C3380CC4-5D6E-409C-BE32-E72D297353CC}">
                <c16:uniqueId val="{0000000B-7D2A-4F1E-BC80-EAAAE9B08A80}"/>
              </c:ext>
            </c:extLst>
          </c:dPt>
          <c:dPt>
            <c:idx val="5"/>
            <c:invertIfNegative val="0"/>
            <c:bubble3D val="0"/>
            <c:spPr>
              <a:solidFill>
                <a:srgbClr val="FFBFBF"/>
              </a:solidFill>
              <a:ln w="10160">
                <a:solidFill>
                  <a:srgbClr val="FF9B9B"/>
                </a:solidFill>
              </a:ln>
            </c:spPr>
            <c:extLst>
              <c:ext xmlns:c16="http://schemas.microsoft.com/office/drawing/2014/chart" uri="{C3380CC4-5D6E-409C-BE32-E72D297353CC}">
                <c16:uniqueId val="{0000000C-7D2A-4F1E-BC80-EAAAE9B08A80}"/>
              </c:ext>
            </c:extLst>
          </c:dPt>
          <c:dPt>
            <c:idx val="6"/>
            <c:invertIfNegative val="0"/>
            <c:bubble3D val="0"/>
            <c:spPr>
              <a:solidFill>
                <a:srgbClr val="B2DFDC"/>
              </a:solidFill>
              <a:ln w="10160">
                <a:solidFill>
                  <a:srgbClr val="8DC3C3"/>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FF8080"/>
              </a:solidFill>
              <a:ln w="10160">
                <a:solidFill>
                  <a:srgbClr val="FF5F5F"/>
                </a:solidFill>
              </a:ln>
            </c:spPr>
            <c:extLst>
              <c:ext xmlns:c16="http://schemas.microsoft.com/office/drawing/2014/chart" uri="{C3380CC4-5D6E-409C-BE32-E72D297353CC}">
                <c16:uniqueId val="{0000000D-7D2A-4F1E-BC80-EAAAE9B08A80}"/>
              </c:ext>
            </c:extLst>
          </c:dPt>
          <c:dPt>
            <c:idx val="8"/>
            <c:invertIfNegative val="1"/>
            <c:bubble3D val="0"/>
            <c:spPr>
              <a:solidFill>
                <a:srgbClr val="48AEA6"/>
              </a:solidFill>
              <a:ln w="10160">
                <a:solidFill>
                  <a:srgbClr val="439595"/>
                </a:solidFill>
              </a:ln>
            </c:spPr>
            <c:extLst>
              <c:ext xmlns:c16="http://schemas.microsoft.com/office/drawing/2014/chart" uri="{C3380CC4-5D6E-409C-BE32-E72D297353CC}">
                <c16:uniqueId val="{00000011-78D1-41D4-ABFA-320BD44357BD}"/>
              </c:ext>
            </c:extLst>
          </c:dPt>
          <c:dPt>
            <c:idx val="9"/>
            <c:invertIfNegative val="1"/>
            <c:bubble3D val="0"/>
            <c:spPr>
              <a:solidFill>
                <a:srgbClr val="B2DFDC"/>
              </a:solidFill>
              <a:ln w="10160">
                <a:solidFill>
                  <a:srgbClr val="8DC3C3"/>
                </a:solidFill>
              </a:ln>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65FB410-FF80-49FC-90A1-4CD872100A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AA1D49B-8215-4463-91C4-0CD8A2D766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B19A6C4-3EC5-4F9A-AE84-C06A282DC9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DB833BA-82F4-4B36-8423-88D2322E6A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4B3C364-EC22-4420-8A57-2277EA6469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7D3FB0F-86B9-41A2-A51A-B32DA4C32B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C524940-E688-413B-9707-4F7B582F59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3C564AE-C562-4351-83F6-0D1BACA444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1</c:f>
              <c:numCache>
                <c:formatCode>General</c:formatCode>
                <c:ptCount val="10"/>
                <c:pt idx="0">
                  <c:v>0.7653</c:v>
                </c:pt>
                <c:pt idx="1">
                  <c:v>0.9755</c:v>
                </c:pt>
                <c:pt idx="2">
                  <c:v>2.1586</c:v>
                </c:pt>
                <c:pt idx="3">
                  <c:v>0.9444</c:v>
                </c:pt>
                <c:pt idx="4">
                  <c:v>0.4494</c:v>
                </c:pt>
                <c:pt idx="5">
                  <c:v>0.4127</c:v>
                </c:pt>
                <c:pt idx="6">
                  <c:v>0.1407</c:v>
                </c:pt>
                <c:pt idx="7">
                  <c:v>1.1413</c:v>
                </c:pt>
                <c:pt idx="8">
                  <c:v>1.2749</c:v>
                </c:pt>
                <c:pt idx="9">
                  <c:v>0.1083</c:v>
                </c:pt>
              </c:numCache>
            </c:numRef>
          </c:xVal>
          <c:yVal>
            <c:numRef>
              <c:f>Sheet1!$B$2:$B$11</c:f>
              <c:numCache>
                <c:formatCode>General</c:formatCode>
                <c:ptCount val="10"/>
                <c:pt idx="0">
                  <c:v>0.4934</c:v>
                </c:pt>
                <c:pt idx="1">
                  <c:v>0.6837</c:v>
                </c:pt>
                <c:pt idx="2">
                  <c:v>0.4195</c:v>
                </c:pt>
                <c:pt idx="3">
                  <c:v>0.4911</c:v>
                </c:pt>
                <c:pt idx="4">
                  <c:v>0.48</c:v>
                </c:pt>
                <c:pt idx="5">
                  <c:v>0.5166</c:v>
                </c:pt>
                <c:pt idx="6">
                  <c:v>0.0104</c:v>
                </c:pt>
                <c:pt idx="7">
                  <c:v>0.7091</c:v>
                </c:pt>
                <c:pt idx="8">
                  <c:v>0.7317</c:v>
                </c:pt>
                <c:pt idx="9">
                  <c:v>-0.0032</c:v>
                </c:pt>
              </c:numCache>
            </c:numRef>
          </c:yVal>
          <c:bubbleSize>
            <c:numRef>
              <c:f>Sheet1!$C$2:$C$11</c:f>
              <c:numCache>
                <c:formatCode>General</c:formatCode>
                <c:ptCount val="10"/>
                <c:pt idx="0">
                  <c:v>129385.6139</c:v>
                </c:pt>
                <c:pt idx="1">
                  <c:v>30082.322399999997</c:v>
                </c:pt>
                <c:pt idx="2">
                  <c:v>78650.09289999999</c:v>
                </c:pt>
                <c:pt idx="3">
                  <c:v>310226.51689999993</c:v>
                </c:pt>
                <c:pt idx="4">
                  <c:v>100468.0599</c:v>
                </c:pt>
                <c:pt idx="5">
                  <c:v>141820.57580000002</c:v>
                </c:pt>
                <c:pt idx="6">
                  <c:v>85078.3402</c:v>
                </c:pt>
                <c:pt idx="7">
                  <c:v>85603.14790000001</c:v>
                </c:pt>
                <c:pt idx="8">
                  <c:v>162101.8536</c:v>
                </c:pt>
                <c:pt idx="9">
                  <c:v>185958.4334000000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96537687895204"/>
        <c:crossBetween val="midCat"/>
      </c:valAx>
      <c:valAx>
        <c:axId val="1011451359"/>
        <c:scaling>
          <c:orientation val="minMax"/>
          <c:max val="1.23804"/>
          <c:min val="-0.242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87603404117893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48AEA6"/>
              </a:solidFill>
              <a:ln w="10160">
                <a:solidFill>
                  <a:srgbClr val="439595"/>
                </a:solidFill>
              </a:ln>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54CCB64-29E2-44FD-9F45-32F459782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95E6326-447C-457C-A891-ED3545D48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F3A6842-7588-4457-BA61-3171B0738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98F673F-5E58-4C86-9C08-8DC7F0BE05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63E679F-E127-4487-B909-863D86631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D296019-65A4-4261-8BFE-B05790C07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B681D03-83AB-4601-B130-6472D0BAB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3A30666-D23B-4ED9-BF0E-F192E3F8F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965</c:v>
                </c:pt>
              </c:numCache>
            </c:numRef>
          </c:xVal>
          <c:yVal>
            <c:numRef>
              <c:f>Sheet1!$B$2:$B$2</c:f>
              <c:numCache>
                <c:formatCode>General</c:formatCode>
                <c:ptCount val="1"/>
                <c:pt idx="0">
                  <c:v>0.7201</c:v>
                </c:pt>
              </c:numCache>
            </c:numRef>
          </c:yVal>
          <c:bubbleSize>
            <c:numRef>
              <c:f>Sheet1!$C$2:$C$2</c:f>
              <c:numCache>
                <c:formatCode>General</c:formatCode>
                <c:ptCount val="1"/>
                <c:pt idx="0">
                  <c:v>4380267.24460000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1"/>
        <c:crossBetween val="midCat"/>
      </c:valAx>
      <c:valAx>
        <c:axId val="1011451359"/>
        <c:scaling>
          <c:orientation val="minMax"/>
          <c:max val="1.2241199999999999"/>
          <c:min val="0.336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96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B2DFDC"/>
              </a:solidFill>
              <a:ln w="10160">
                <a:solidFill>
                  <a:srgbClr val="8DC3C3"/>
                </a:solidFill>
              </a:ln>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w="10160">
                <a:solidFill>
                  <a:srgbClr val="FF5F5F"/>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BFBF"/>
              </a:solidFill>
              <a:ln w="10160">
                <a:solidFill>
                  <a:srgbClr val="FF9B9B"/>
                </a:solidFill>
              </a:ln>
            </c:spPr>
            <c:extLst>
              <c:ext xmlns:c16="http://schemas.microsoft.com/office/drawing/2014/chart" uri="{C3380CC4-5D6E-409C-BE32-E72D297353CC}">
                <c16:uniqueId val="{00000005-CFF5-4D9B-9947-2A90D7752FBB}"/>
              </c:ext>
            </c:extLst>
          </c:dPt>
          <c:dPt>
            <c:idx val="3"/>
            <c:invertIfNegative val="0"/>
            <c:bubble3D val="0"/>
            <c:spPr>
              <a:solidFill>
                <a:srgbClr val="E6E5E5"/>
              </a:solidFill>
              <a:ln w="10160">
                <a:solidFill>
                  <a:srgbClr val="BCBBBB"/>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a:ln w="10160">
                <a:solidFill>
                  <a:srgbClr val="BCBBBB"/>
                </a:solidFill>
              </a:ln>
            </c:spPr>
            <c:extLst>
              <c:ext xmlns:c16="http://schemas.microsoft.com/office/drawing/2014/chart" uri="{C3380CC4-5D6E-409C-BE32-E72D297353CC}">
                <c16:uniqueId val="{0000000B-7D2A-4F1E-BC80-EAAAE9B08A80}"/>
              </c:ext>
            </c:extLst>
          </c:dPt>
          <c:dPt>
            <c:idx val="5"/>
            <c:invertIfNegative val="0"/>
            <c:bubble3D val="0"/>
            <c:spPr>
              <a:solidFill>
                <a:srgbClr val="FF8080"/>
              </a:solidFill>
              <a:ln w="10160">
                <a:solidFill>
                  <a:srgbClr val="FF5F5F"/>
                </a:solidFill>
              </a:ln>
            </c:spPr>
            <c:extLst>
              <c:ext xmlns:c16="http://schemas.microsoft.com/office/drawing/2014/chart" uri="{C3380CC4-5D6E-409C-BE32-E72D297353CC}">
                <c16:uniqueId val="{0000000C-7D2A-4F1E-BC80-EAAAE9B08A80}"/>
              </c:ext>
            </c:extLst>
          </c:dPt>
          <c:dPt>
            <c:idx val="6"/>
            <c:invertIfNegative val="0"/>
            <c:bubble3D val="0"/>
            <c:spPr>
              <a:solidFill>
                <a:srgbClr val="B2DFDC"/>
              </a:solidFill>
              <a:ln w="10160">
                <a:solidFill>
                  <a:srgbClr val="8DC3C3"/>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FFBFBF"/>
              </a:solidFill>
              <a:ln w="10160">
                <a:solidFill>
                  <a:srgbClr val="FF9B9B"/>
                </a:solidFill>
              </a:ln>
            </c:spPr>
            <c:extLst>
              <c:ext xmlns:c16="http://schemas.microsoft.com/office/drawing/2014/chart" uri="{C3380CC4-5D6E-409C-BE32-E72D297353CC}">
                <c16:uniqueId val="{0000000D-7D2A-4F1E-BC80-EAAAE9B08A80}"/>
              </c:ext>
            </c:extLst>
          </c:dPt>
          <c:dPt>
            <c:idx val="8"/>
            <c:invertIfNegative val="1"/>
            <c:bubble3D val="0"/>
            <c:spPr>
              <a:solidFill>
                <a:srgbClr val="48AEA6"/>
              </a:solidFill>
              <a:ln w="10160">
                <a:solidFill>
                  <a:srgbClr val="439595"/>
                </a:solidFill>
              </a:ln>
            </c:spPr>
            <c:extLst>
              <c:ext xmlns:c16="http://schemas.microsoft.com/office/drawing/2014/chart" uri="{C3380CC4-5D6E-409C-BE32-E72D297353CC}">
                <c16:uniqueId val="{00000011-78D1-41D4-ABFA-320BD44357BD}"/>
              </c:ext>
            </c:extLst>
          </c:dPt>
          <c:dPt>
            <c:idx val="9"/>
            <c:invertIfNegative val="1"/>
            <c:bubble3D val="0"/>
            <c:spPr>
              <a:solidFill>
                <a:srgbClr val="48AEA6"/>
              </a:solidFill>
              <a:ln w="10160">
                <a:solidFill>
                  <a:srgbClr val="439595"/>
                </a:solidFill>
              </a:ln>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1A8380B-82E9-4F81-A997-0E85B7026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6C4BEA1-DAA6-4C58-8A08-763780940B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3291811-C0BF-4588-8A49-EF66FCAC8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93BEB6A-5AB5-40BC-A965-13992D5706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5E8917C-4411-4611-BA1E-E6A2C3F8CA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F2005A6-1D07-49D6-A723-956AACD80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52D6514-AA74-4F17-B1DE-E6C50F81DB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4C41CE3-EC60-48B6-89A3-EFE21750C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1</c:f>
              <c:numCache>
                <c:formatCode>General</c:formatCode>
                <c:ptCount val="10"/>
                <c:pt idx="0">
                  <c:v>0.7653</c:v>
                </c:pt>
                <c:pt idx="1">
                  <c:v>0.9758</c:v>
                </c:pt>
                <c:pt idx="2">
                  <c:v>2.1589</c:v>
                </c:pt>
                <c:pt idx="3">
                  <c:v>0.9444</c:v>
                </c:pt>
                <c:pt idx="4">
                  <c:v>0.4494</c:v>
                </c:pt>
                <c:pt idx="5">
                  <c:v>0.4127</c:v>
                </c:pt>
                <c:pt idx="6">
                  <c:v>0.1407</c:v>
                </c:pt>
                <c:pt idx="7">
                  <c:v>1.1412</c:v>
                </c:pt>
                <c:pt idx="8">
                  <c:v>1.2748</c:v>
                </c:pt>
                <c:pt idx="9">
                  <c:v>0.1083</c:v>
                </c:pt>
              </c:numCache>
            </c:numRef>
          </c:xVal>
          <c:yVal>
            <c:numRef>
              <c:f>Sheet1!$B$2:$B$11</c:f>
              <c:numCache>
                <c:formatCode>General</c:formatCode>
                <c:ptCount val="10"/>
                <c:pt idx="0">
                  <c:v>0.4936</c:v>
                </c:pt>
                <c:pt idx="1">
                  <c:v>0.6837</c:v>
                </c:pt>
                <c:pt idx="2">
                  <c:v>0.4199</c:v>
                </c:pt>
                <c:pt idx="3">
                  <c:v>0.4909</c:v>
                </c:pt>
                <c:pt idx="4">
                  <c:v>0.4789</c:v>
                </c:pt>
                <c:pt idx="5">
                  <c:v>0.5158</c:v>
                </c:pt>
                <c:pt idx="6">
                  <c:v>0.012</c:v>
                </c:pt>
                <c:pt idx="7">
                  <c:v>0.7091</c:v>
                </c:pt>
                <c:pt idx="8">
                  <c:v>0.7318</c:v>
                </c:pt>
                <c:pt idx="9">
                  <c:v>-0.0022</c:v>
                </c:pt>
              </c:numCache>
            </c:numRef>
          </c:yVal>
          <c:bubbleSize>
            <c:numRef>
              <c:f>Sheet1!$C$2:$C$11</c:f>
              <c:numCache>
                <c:formatCode>General</c:formatCode>
                <c:ptCount val="10"/>
                <c:pt idx="0">
                  <c:v>119428.28789999997</c:v>
                </c:pt>
                <c:pt idx="1">
                  <c:v>28301.748799999998</c:v>
                </c:pt>
                <c:pt idx="2">
                  <c:v>89489.17039999999</c:v>
                </c:pt>
                <c:pt idx="3">
                  <c:v>272475.62769999995</c:v>
                </c:pt>
                <c:pt idx="4">
                  <c:v>106130.81490000003</c:v>
                </c:pt>
                <c:pt idx="5">
                  <c:v>125001.96189999998</c:v>
                </c:pt>
                <c:pt idx="6">
                  <c:v>114348.9244</c:v>
                </c:pt>
                <c:pt idx="7">
                  <c:v>86297.40030000001</c:v>
                </c:pt>
                <c:pt idx="8">
                  <c:v>182797.47649999996</c:v>
                </c:pt>
                <c:pt idx="9">
                  <c:v>174687.437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179898299358027"/>
        <c:crossBetween val="midCat"/>
      </c:valAx>
      <c:valAx>
        <c:axId val="1011451359"/>
        <c:scaling>
          <c:orientation val="minMax"/>
          <c:max val="1.23816"/>
          <c:min val="-0.24175999999999997"/>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97056292307247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BFBF"/>
              </a:solidFill>
              <a:ln w="10160">
                <a:solidFill>
                  <a:srgbClr val="FF9B9B"/>
                </a:solidFill>
              </a:ln>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w="10160">
                <a:solidFill>
                  <a:srgbClr val="FF5F5F"/>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a:ln w="10160">
                <a:solidFill>
                  <a:srgbClr val="FF5F5F"/>
                </a:solidFill>
              </a:ln>
            </c:spPr>
            <c:extLst>
              <c:ext xmlns:c16="http://schemas.microsoft.com/office/drawing/2014/chart" uri="{C3380CC4-5D6E-409C-BE32-E72D297353CC}">
                <c16:uniqueId val="{00000005-CFF5-4D9B-9947-2A90D7752FBB}"/>
              </c:ext>
            </c:extLst>
          </c:dPt>
          <c:dPt>
            <c:idx val="3"/>
            <c:invertIfNegative val="0"/>
            <c:bubble3D val="0"/>
            <c:spPr>
              <a:solidFill>
                <a:srgbClr val="48AEA6"/>
              </a:solidFill>
              <a:ln w="10160">
                <a:solidFill>
                  <a:srgbClr val="439595"/>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a:ln w="10160">
                <a:solidFill>
                  <a:srgbClr val="FF5F5F"/>
                </a:solidFill>
              </a:ln>
            </c:spPr>
            <c:extLst>
              <c:ext xmlns:c16="http://schemas.microsoft.com/office/drawing/2014/chart" uri="{C3380CC4-5D6E-409C-BE32-E72D297353CC}">
                <c16:uniqueId val="{0000000B-7D2A-4F1E-BC80-EAAAE9B08A80}"/>
              </c:ext>
            </c:extLst>
          </c:dPt>
          <c:dPt>
            <c:idx val="5"/>
            <c:invertIfNegative val="0"/>
            <c:bubble3D val="0"/>
            <c:spPr>
              <a:solidFill>
                <a:srgbClr val="FFBFBF"/>
              </a:solidFill>
              <a:ln w="10160">
                <a:solidFill>
                  <a:srgbClr val="FF9B9B"/>
                </a:solidFill>
              </a:ln>
            </c:spPr>
            <c:extLst>
              <c:ext xmlns:c16="http://schemas.microsoft.com/office/drawing/2014/chart" uri="{C3380CC4-5D6E-409C-BE32-E72D297353CC}">
                <c16:uniqueId val="{0000000C-7D2A-4F1E-BC80-EAAAE9B08A80}"/>
              </c:ext>
            </c:extLst>
          </c:dPt>
          <c:dPt>
            <c:idx val="6"/>
            <c:invertIfNegative val="0"/>
            <c:bubble3D val="0"/>
            <c:spPr>
              <a:solidFill>
                <a:srgbClr val="FFBFBF"/>
              </a:solidFill>
              <a:ln w="10160">
                <a:solidFill>
                  <a:srgbClr val="FF9B9B"/>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B2DFDC"/>
              </a:solidFill>
              <a:ln w="10160">
                <a:solidFill>
                  <a:srgbClr val="8DC3C3"/>
                </a:solidFill>
              </a:ln>
            </c:spPr>
            <c:extLst>
              <c:ext xmlns:c16="http://schemas.microsoft.com/office/drawing/2014/chart" uri="{C3380CC4-5D6E-409C-BE32-E72D297353CC}">
                <c16:uniqueId val="{0000000D-7D2A-4F1E-BC80-EAAAE9B08A80}"/>
              </c:ext>
            </c:extLst>
          </c:dPt>
          <c:dPt>
            <c:idx val="8"/>
            <c:invertIfNegative val="1"/>
            <c:bubble3D val="0"/>
            <c:spPr>
              <a:solidFill>
                <a:srgbClr val="FF8080"/>
              </a:solidFill>
              <a:ln w="10160">
                <a:solidFill>
                  <a:srgbClr val="FF5F5F"/>
                </a:solidFill>
              </a:ln>
            </c:spPr>
            <c:extLst>
              <c:ext xmlns:c16="http://schemas.microsoft.com/office/drawing/2014/chart" uri="{C3380CC4-5D6E-409C-BE32-E72D297353CC}">
                <c16:uniqueId val="{00000011-78D1-41D4-ABFA-320BD44357BD}"/>
              </c:ext>
            </c:extLst>
          </c:dPt>
          <c:dPt>
            <c:idx val="9"/>
            <c:invertIfNegative val="1"/>
            <c:bubble3D val="0"/>
            <c:spPr>
              <a:solidFill>
                <a:srgbClr val="48AEA6"/>
              </a:solidFill>
              <a:ln w="10160">
                <a:solidFill>
                  <a:srgbClr val="439595"/>
                </a:solidFill>
              </a:ln>
            </c:spPr>
            <c:extLst>
              <c:ext xmlns:c16="http://schemas.microsoft.com/office/drawing/2014/chart" uri="{C3380CC4-5D6E-409C-BE32-E72D297353CC}">
                <c16:uniqueId val="{00000013-78D1-41D4-ABFA-320BD44357BD}"/>
              </c:ext>
            </c:extLst>
          </c:dPt>
          <c:dPt>
            <c:idx val="10"/>
            <c:invertIfNegative val="1"/>
            <c:bubble3D val="0"/>
            <c:spPr>
              <a:solidFill>
                <a:srgbClr val="48AEA6"/>
              </a:solidFill>
              <a:ln w="10160">
                <a:solidFill>
                  <a:srgbClr val="439595"/>
                </a:solidFill>
              </a:ln>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B0460BA-72F6-4D7A-A3F7-8A9C4300C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462DC84-2B80-41DB-8864-499100736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9BDEAB4-688A-499B-8107-1674C303A9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F966852-620A-42A2-B2E6-70FE71740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9DE1092-2AF9-4931-B34E-C96D4A7C0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C20CF20-64EB-4CFB-876A-CB3AB879F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109E42E-675E-4798-82B6-FC30FD3B02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7351453-71F7-47EF-AE79-9D62A1FC06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2</c:f>
              <c:numCache>
                <c:formatCode>General</c:formatCode>
                <c:ptCount val="11"/>
                <c:pt idx="0">
                  <c:v>0.7653</c:v>
                </c:pt>
                <c:pt idx="1">
                  <c:v>0.9761</c:v>
                </c:pt>
                <c:pt idx="2">
                  <c:v>2.1591</c:v>
                </c:pt>
                <c:pt idx="3">
                  <c:v>0.9444</c:v>
                </c:pt>
                <c:pt idx="4">
                  <c:v>0.916</c:v>
                </c:pt>
                <c:pt idx="5">
                  <c:v>0.4494</c:v>
                </c:pt>
                <c:pt idx="6">
                  <c:v>0.4128</c:v>
                </c:pt>
                <c:pt idx="7">
                  <c:v>0.1407</c:v>
                </c:pt>
                <c:pt idx="8">
                  <c:v>1.1417</c:v>
                </c:pt>
                <c:pt idx="9">
                  <c:v>1.275</c:v>
                </c:pt>
                <c:pt idx="10">
                  <c:v>0.1083</c:v>
                </c:pt>
              </c:numCache>
            </c:numRef>
          </c:xVal>
          <c:yVal>
            <c:numRef>
              <c:f>Sheet1!$B$2:$B$12</c:f>
              <c:numCache>
                <c:formatCode>General</c:formatCode>
                <c:ptCount val="11"/>
                <c:pt idx="0">
                  <c:v>0.4934</c:v>
                </c:pt>
                <c:pt idx="1">
                  <c:v>0.6837</c:v>
                </c:pt>
                <c:pt idx="2">
                  <c:v>0.4198</c:v>
                </c:pt>
                <c:pt idx="3">
                  <c:v>0.4911</c:v>
                </c:pt>
                <c:pt idx="4">
                  <c:v>0.7386</c:v>
                </c:pt>
                <c:pt idx="5">
                  <c:v>0.4797</c:v>
                </c:pt>
                <c:pt idx="6">
                  <c:v>0.5165</c:v>
                </c:pt>
                <c:pt idx="7">
                  <c:v>0.0105</c:v>
                </c:pt>
                <c:pt idx="8">
                  <c:v>0.7091</c:v>
                </c:pt>
                <c:pt idx="9">
                  <c:v>0.7317</c:v>
                </c:pt>
                <c:pt idx="10">
                  <c:v>-0.0026</c:v>
                </c:pt>
              </c:numCache>
            </c:numRef>
          </c:yVal>
          <c:bubbleSize>
            <c:numRef>
              <c:f>Sheet1!$C$2:$C$12</c:f>
              <c:numCache>
                <c:formatCode>General</c:formatCode>
                <c:ptCount val="11"/>
                <c:pt idx="0">
                  <c:v>1798622.3696</c:v>
                </c:pt>
                <c:pt idx="1">
                  <c:v>423999.0885</c:v>
                </c:pt>
                <c:pt idx="2">
                  <c:v>1214691.3791000003</c:v>
                </c:pt>
                <c:pt idx="3">
                  <c:v>4518773.504000001</c:v>
                </c:pt>
                <c:pt idx="4">
                  <c:v>1094.5674000000001</c:v>
                </c:pt>
                <c:pt idx="5">
                  <c:v>1614221.3449</c:v>
                </c:pt>
                <c:pt idx="6">
                  <c:v>1997336.7136000001</c:v>
                </c:pt>
                <c:pt idx="7">
                  <c:v>1228819.4014000003</c:v>
                </c:pt>
                <c:pt idx="8">
                  <c:v>1343734.6551</c:v>
                </c:pt>
                <c:pt idx="9">
                  <c:v>2611438.9335999996</c:v>
                </c:pt>
                <c:pt idx="10">
                  <c:v>2298580.1270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5998090982496"/>
        <c:crossBetween val="midCat"/>
      </c:valAx>
      <c:valAx>
        <c:axId val="1011451359"/>
        <c:scaling>
          <c:orientation val="minMax"/>
          <c:max val="1.2463199999999999"/>
          <c:min val="-0.242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814485264850093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BFBF"/>
              </a:solidFill>
              <a:ln w="10160">
                <a:solidFill>
                  <a:srgbClr val="FF9B9B"/>
                </a:solidFill>
              </a:ln>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w="10160">
                <a:solidFill>
                  <a:srgbClr val="FF5F5F"/>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a:ln w="10160">
                <a:solidFill>
                  <a:srgbClr val="FF5F5F"/>
                </a:solidFill>
              </a:ln>
            </c:spPr>
            <c:extLst>
              <c:ext xmlns:c16="http://schemas.microsoft.com/office/drawing/2014/chart" uri="{C3380CC4-5D6E-409C-BE32-E72D297353CC}">
                <c16:uniqueId val="{00000005-CFF5-4D9B-9947-2A90D7752FBB}"/>
              </c:ext>
            </c:extLst>
          </c:dPt>
          <c:dPt>
            <c:idx val="3"/>
            <c:invertIfNegative val="0"/>
            <c:bubble3D val="0"/>
            <c:spPr>
              <a:solidFill>
                <a:srgbClr val="48AEA6"/>
              </a:solidFill>
              <a:ln w="10160">
                <a:solidFill>
                  <a:srgbClr val="439595"/>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BFBF"/>
              </a:solidFill>
              <a:ln w="10160">
                <a:solidFill>
                  <a:srgbClr val="FF9B9B"/>
                </a:solidFill>
              </a:ln>
            </c:spPr>
            <c:extLst>
              <c:ext xmlns:c16="http://schemas.microsoft.com/office/drawing/2014/chart" uri="{C3380CC4-5D6E-409C-BE32-E72D297353CC}">
                <c16:uniqueId val="{0000000B-7D2A-4F1E-BC80-EAAAE9B08A80}"/>
              </c:ext>
            </c:extLst>
          </c:dPt>
          <c:dPt>
            <c:idx val="5"/>
            <c:invertIfNegative val="0"/>
            <c:bubble3D val="0"/>
            <c:spPr>
              <a:solidFill>
                <a:srgbClr val="FFBFBF"/>
              </a:solidFill>
              <a:ln w="10160">
                <a:solidFill>
                  <a:srgbClr val="FF9B9B"/>
                </a:solidFill>
              </a:ln>
            </c:spPr>
            <c:extLst>
              <c:ext xmlns:c16="http://schemas.microsoft.com/office/drawing/2014/chart" uri="{C3380CC4-5D6E-409C-BE32-E72D297353CC}">
                <c16:uniqueId val="{0000000C-7D2A-4F1E-BC80-EAAAE9B08A80}"/>
              </c:ext>
            </c:extLst>
          </c:dPt>
          <c:dPt>
            <c:idx val="6"/>
            <c:invertIfNegative val="0"/>
            <c:bubble3D val="0"/>
            <c:spPr>
              <a:solidFill>
                <a:srgbClr val="B2DFDC"/>
              </a:solidFill>
              <a:ln w="10160">
                <a:solidFill>
                  <a:srgbClr val="8DC3C3"/>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FF8080"/>
              </a:solidFill>
              <a:ln w="10160">
                <a:solidFill>
                  <a:srgbClr val="FF5F5F"/>
                </a:solidFill>
              </a:ln>
            </c:spPr>
            <c:extLst>
              <c:ext xmlns:c16="http://schemas.microsoft.com/office/drawing/2014/chart" uri="{C3380CC4-5D6E-409C-BE32-E72D297353CC}">
                <c16:uniqueId val="{0000000D-7D2A-4F1E-BC80-EAAAE9B08A80}"/>
              </c:ext>
            </c:extLst>
          </c:dPt>
          <c:dPt>
            <c:idx val="8"/>
            <c:invertIfNegative val="1"/>
            <c:bubble3D val="0"/>
            <c:spPr>
              <a:solidFill>
                <a:srgbClr val="48AEA6"/>
              </a:solidFill>
              <a:ln w="10160">
                <a:solidFill>
                  <a:srgbClr val="439595"/>
                </a:solidFill>
              </a:ln>
            </c:spPr>
            <c:extLst>
              <c:ext xmlns:c16="http://schemas.microsoft.com/office/drawing/2014/chart" uri="{C3380CC4-5D6E-409C-BE32-E72D297353CC}">
                <c16:uniqueId val="{00000011-78D1-41D4-ABFA-320BD44357BD}"/>
              </c:ext>
            </c:extLst>
          </c:dPt>
          <c:dPt>
            <c:idx val="9"/>
            <c:invertIfNegative val="1"/>
            <c:bubble3D val="0"/>
            <c:spPr>
              <a:solidFill>
                <a:srgbClr val="48AEA6"/>
              </a:solidFill>
              <a:ln w="10160">
                <a:solidFill>
                  <a:srgbClr val="439595"/>
                </a:solidFill>
              </a:ln>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D4B1534-8474-4CAE-984B-3AAD2E589E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900267A-4BE0-427D-9801-03E11F7F0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E186B45-53AE-4A04-8115-B423D5C08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838F3FE-B320-4DF2-8BFC-793A16C168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BABFBCC-6FB9-4A98-BE51-3D5F304B8C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3D1D189-BAAC-46D7-A9E8-50E2FA27C1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D34CC66-D931-4AFD-B9E4-FD906D5C3A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3A82908-51C4-4DE8-8AE4-D176B5143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1</c:f>
              <c:numCache>
                <c:formatCode>General</c:formatCode>
                <c:ptCount val="10"/>
                <c:pt idx="0">
                  <c:v>0.7653</c:v>
                </c:pt>
                <c:pt idx="1">
                  <c:v>0.9762</c:v>
                </c:pt>
                <c:pt idx="2">
                  <c:v>2.1592</c:v>
                </c:pt>
                <c:pt idx="3">
                  <c:v>0.9444</c:v>
                </c:pt>
                <c:pt idx="4">
                  <c:v>0.4494</c:v>
                </c:pt>
                <c:pt idx="5">
                  <c:v>0.4128</c:v>
                </c:pt>
                <c:pt idx="6">
                  <c:v>0.1407</c:v>
                </c:pt>
                <c:pt idx="7">
                  <c:v>1.1418</c:v>
                </c:pt>
                <c:pt idx="8">
                  <c:v>1.275</c:v>
                </c:pt>
                <c:pt idx="9">
                  <c:v>0.1083</c:v>
                </c:pt>
              </c:numCache>
            </c:numRef>
          </c:xVal>
          <c:yVal>
            <c:numRef>
              <c:f>Sheet1!$B$2:$B$11</c:f>
              <c:numCache>
                <c:formatCode>General</c:formatCode>
                <c:ptCount val="10"/>
                <c:pt idx="0">
                  <c:v>0.4934</c:v>
                </c:pt>
                <c:pt idx="1">
                  <c:v>0.6837</c:v>
                </c:pt>
                <c:pt idx="2">
                  <c:v>0.4198</c:v>
                </c:pt>
                <c:pt idx="3">
                  <c:v>0.4911</c:v>
                </c:pt>
                <c:pt idx="4">
                  <c:v>0.4798</c:v>
                </c:pt>
                <c:pt idx="5">
                  <c:v>0.5166</c:v>
                </c:pt>
                <c:pt idx="6">
                  <c:v>0.0104</c:v>
                </c:pt>
                <c:pt idx="7">
                  <c:v>0.7091</c:v>
                </c:pt>
                <c:pt idx="8">
                  <c:v>0.7317</c:v>
                </c:pt>
                <c:pt idx="9">
                  <c:v>-0.0026</c:v>
                </c:pt>
              </c:numCache>
            </c:numRef>
          </c:yVal>
          <c:bubbleSize>
            <c:numRef>
              <c:f>Sheet1!$C$2:$C$11</c:f>
              <c:numCache>
                <c:formatCode>General</c:formatCode>
                <c:ptCount val="10"/>
                <c:pt idx="0">
                  <c:v>1549808.4677999998</c:v>
                </c:pt>
                <c:pt idx="1">
                  <c:v>365615.01729999995</c:v>
                </c:pt>
                <c:pt idx="2">
                  <c:v>1046552.1157999999</c:v>
                </c:pt>
                <c:pt idx="3">
                  <c:v>3936071.3593999995</c:v>
                </c:pt>
                <c:pt idx="4">
                  <c:v>1407622.4701</c:v>
                </c:pt>
                <c:pt idx="5">
                  <c:v>1730514.1759000001</c:v>
                </c:pt>
                <c:pt idx="6">
                  <c:v>1029392.1368000001</c:v>
                </c:pt>
                <c:pt idx="7">
                  <c:v>1171834.1069000002</c:v>
                </c:pt>
                <c:pt idx="8">
                  <c:v>2266539.6034999997</c:v>
                </c:pt>
                <c:pt idx="9">
                  <c:v>1937934.25580000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31960185684373"/>
        <c:crossBetween val="midCat"/>
      </c:valAx>
      <c:valAx>
        <c:axId val="1011451359"/>
        <c:scaling>
          <c:orientation val="minMax"/>
          <c:max val="1.23804"/>
          <c:min val="-0.242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817997309766108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a:solidFill>
                  <a:srgbClr val="FF5F5F"/>
                </a:solidFill>
              </a:ln>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w="10160">
                <a:solidFill>
                  <a:srgbClr val="FF5F5F"/>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a:ln w="10160">
                <a:solidFill>
                  <a:srgbClr val="FF5F5F"/>
                </a:solidFill>
              </a:ln>
            </c:spPr>
            <c:extLst>
              <c:ext xmlns:c16="http://schemas.microsoft.com/office/drawing/2014/chart" uri="{C3380CC4-5D6E-409C-BE32-E72D297353CC}">
                <c16:uniqueId val="{00000005-CFF5-4D9B-9947-2A90D7752FBB}"/>
              </c:ext>
            </c:extLst>
          </c:dPt>
          <c:dPt>
            <c:idx val="3"/>
            <c:invertIfNegative val="0"/>
            <c:bubble3D val="0"/>
            <c:spPr>
              <a:solidFill>
                <a:srgbClr val="48AEA6"/>
              </a:solidFill>
              <a:ln w="10160">
                <a:solidFill>
                  <a:srgbClr val="439595"/>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350A318-7813-4A26-BA3E-5E0664D86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0F9AD6A-6A56-4F33-B776-ECD8D4EF1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8D0ADAB-6D6A-4AEB-B933-A7BD93333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F82A3BC-4705-4806-A150-B4271CA8F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69D98CAB-5906-492A-BB89-16DA2DADCC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69FFA64-7D64-438A-A289-82428A7C09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489BAA0-0AC8-4DDB-8E1C-F573D8A740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78C4A2A-0079-4470-B8A5-333C5447E3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0.9755</c:v>
                </c:pt>
                <c:pt idx="1">
                  <c:v>2.1586</c:v>
                </c:pt>
                <c:pt idx="2">
                  <c:v>1.1413</c:v>
                </c:pt>
                <c:pt idx="3">
                  <c:v>1.2749</c:v>
                </c:pt>
              </c:numCache>
            </c:numRef>
          </c:xVal>
          <c:yVal>
            <c:numRef>
              <c:f>Sheet1!$B$2:$B$5</c:f>
              <c:numCache>
                <c:formatCode>General</c:formatCode>
                <c:ptCount val="4"/>
                <c:pt idx="0">
                  <c:v>0.6837</c:v>
                </c:pt>
                <c:pt idx="1">
                  <c:v>0.4195</c:v>
                </c:pt>
                <c:pt idx="2">
                  <c:v>0.7091</c:v>
                </c:pt>
                <c:pt idx="3">
                  <c:v>0.7317</c:v>
                </c:pt>
              </c:numCache>
            </c:numRef>
          </c:yVal>
          <c:bubbleSize>
            <c:numRef>
              <c:f>Sheet1!$C$2:$C$5</c:f>
              <c:numCache>
                <c:formatCode>General</c:formatCode>
                <c:ptCount val="4"/>
                <c:pt idx="0">
                  <c:v>30082.322399999997</c:v>
                </c:pt>
                <c:pt idx="1">
                  <c:v>78650.09289999999</c:v>
                </c:pt>
                <c:pt idx="2">
                  <c:v>85603.14790000001</c:v>
                </c:pt>
                <c:pt idx="3">
                  <c:v>162101.853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33324092125449"/>
        <c:crossBetween val="midCat"/>
      </c:valAx>
      <c:valAx>
        <c:axId val="1011451359"/>
        <c:scaling>
          <c:orientation val="minMax"/>
          <c:max val="1.23804"/>
          <c:min val="0.09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12539475816473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a:solidFill>
                  <a:srgbClr val="FF5F5F"/>
                </a:solidFill>
              </a:ln>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w="10160">
                <a:solidFill>
                  <a:srgbClr val="FF5F5F"/>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a:ln w="10160">
                <a:solidFill>
                  <a:srgbClr val="FF5F5F"/>
                </a:solidFill>
              </a:ln>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w="10160">
                <a:solidFill>
                  <a:srgbClr val="FF5F5F"/>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48AEA6"/>
              </a:solidFill>
              <a:ln w="10160">
                <a:solidFill>
                  <a:srgbClr val="439595"/>
                </a:solidFill>
              </a:ln>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CA93710-F5FF-4ED7-9C96-A8F945FFD5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1D3EE14-5010-4951-A617-BA2935F82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BDC12F8-727F-402D-AD92-42CD8D92C3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472E966-1E94-4028-B33E-863B9CAA6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9DF0994-CEBA-4960-8BF9-7AD8A41DAE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DCB55BE-177A-4485-BA3D-2B541B2E05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B3E82E7-0866-4601-B7ED-575B2739A8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D312C76-0C53-420B-B882-246D2D5E5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0.9761</c:v>
                </c:pt>
                <c:pt idx="1">
                  <c:v>2.1591</c:v>
                </c:pt>
                <c:pt idx="2">
                  <c:v>0.916</c:v>
                </c:pt>
                <c:pt idx="3">
                  <c:v>1.1417</c:v>
                </c:pt>
                <c:pt idx="4">
                  <c:v>1.275</c:v>
                </c:pt>
              </c:numCache>
            </c:numRef>
          </c:xVal>
          <c:yVal>
            <c:numRef>
              <c:f>Sheet1!$B$2:$B$6</c:f>
              <c:numCache>
                <c:formatCode>General</c:formatCode>
                <c:ptCount val="5"/>
                <c:pt idx="0">
                  <c:v>0.6837</c:v>
                </c:pt>
                <c:pt idx="1">
                  <c:v>0.4198</c:v>
                </c:pt>
                <c:pt idx="2">
                  <c:v>0.7386</c:v>
                </c:pt>
                <c:pt idx="3">
                  <c:v>0.7091</c:v>
                </c:pt>
                <c:pt idx="4">
                  <c:v>0.7317</c:v>
                </c:pt>
              </c:numCache>
            </c:numRef>
          </c:yVal>
          <c:bubbleSize>
            <c:numRef>
              <c:f>Sheet1!$C$2:$C$6</c:f>
              <c:numCache>
                <c:formatCode>General</c:formatCode>
                <c:ptCount val="5"/>
                <c:pt idx="0">
                  <c:v>423999.0885</c:v>
                </c:pt>
                <c:pt idx="1">
                  <c:v>1214691.3791000003</c:v>
                </c:pt>
                <c:pt idx="2">
                  <c:v>1094.5674000000001</c:v>
                </c:pt>
                <c:pt idx="3">
                  <c:v>1343734.6551</c:v>
                </c:pt>
                <c:pt idx="4">
                  <c:v>2611438.9335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49210500610623"/>
        <c:crossBetween val="midCat"/>
      </c:valAx>
      <c:valAx>
        <c:axId val="1011451359"/>
        <c:scaling>
          <c:orientation val="minMax"/>
          <c:max val="1.2463199999999999"/>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12206115919507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a:solidFill>
                  <a:srgbClr val="FF5F5F"/>
                </a:solidFill>
              </a:ln>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w="10160">
                <a:solidFill>
                  <a:srgbClr val="FF9B9B"/>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BFBF"/>
              </a:solidFill>
              <a:ln w="10160">
                <a:solidFill>
                  <a:srgbClr val="FF9B9B"/>
                </a:solidFill>
              </a:ln>
            </c:spPr>
            <c:extLst>
              <c:ext xmlns:c16="http://schemas.microsoft.com/office/drawing/2014/chart" uri="{C3380CC4-5D6E-409C-BE32-E72D297353CC}">
                <c16:uniqueId val="{00000005-CFF5-4D9B-9947-2A90D7752FBB}"/>
              </c:ext>
            </c:extLst>
          </c:dPt>
          <c:dPt>
            <c:idx val="3"/>
            <c:invertIfNegative val="0"/>
            <c:bubble3D val="0"/>
            <c:spPr>
              <a:solidFill>
                <a:srgbClr val="48AEA6"/>
              </a:solidFill>
              <a:ln w="10160">
                <a:solidFill>
                  <a:srgbClr val="439595"/>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9CF82FC-3CA5-4C91-9DD4-A0DE1FBB92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57AEA6C-509D-4F2E-AE7F-D3CEC901C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C636F0B-EBC7-47C4-8C0B-7D9DAFF9B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69D3C34-275F-4CDA-829D-0F1DA68A7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219FD6F-625D-4ED7-A7D2-02EEDCD07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5C12B83-5D58-43BA-B176-869DADE20D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D90DCC9-530B-431F-AB54-3B14723B6E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E6C8236-0EEB-476A-98E4-EA47E8661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0.9758</c:v>
                </c:pt>
                <c:pt idx="1">
                  <c:v>2.1589</c:v>
                </c:pt>
                <c:pt idx="2">
                  <c:v>1.1412</c:v>
                </c:pt>
                <c:pt idx="3">
                  <c:v>1.2748</c:v>
                </c:pt>
              </c:numCache>
            </c:numRef>
          </c:xVal>
          <c:yVal>
            <c:numRef>
              <c:f>Sheet1!$B$2:$B$5</c:f>
              <c:numCache>
                <c:formatCode>General</c:formatCode>
                <c:ptCount val="4"/>
                <c:pt idx="0">
                  <c:v>0.6837</c:v>
                </c:pt>
                <c:pt idx="1">
                  <c:v>0.4199</c:v>
                </c:pt>
                <c:pt idx="2">
                  <c:v>0.7091</c:v>
                </c:pt>
                <c:pt idx="3">
                  <c:v>0.7318</c:v>
                </c:pt>
              </c:numCache>
            </c:numRef>
          </c:yVal>
          <c:bubbleSize>
            <c:numRef>
              <c:f>Sheet1!$C$2:$C$5</c:f>
              <c:numCache>
                <c:formatCode>General</c:formatCode>
                <c:ptCount val="4"/>
                <c:pt idx="0">
                  <c:v>28301.748799999998</c:v>
                </c:pt>
                <c:pt idx="1">
                  <c:v>89489.17039999999</c:v>
                </c:pt>
                <c:pt idx="2">
                  <c:v>86297.40030000001</c:v>
                </c:pt>
                <c:pt idx="3">
                  <c:v>182797.47649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10734970506644"/>
        <c:crossBetween val="midCat"/>
      </c:valAx>
      <c:valAx>
        <c:axId val="1011451359"/>
        <c:scaling>
          <c:orientation val="minMax"/>
          <c:max val="1.23816"/>
          <c:min val="0.0959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27624995362093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a:solidFill>
                  <a:srgbClr val="FF5F5F"/>
                </a:solidFill>
              </a:ln>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w="10160">
                <a:solidFill>
                  <a:srgbClr val="FF5F5F"/>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a:ln w="10160">
                <a:solidFill>
                  <a:srgbClr val="FF5F5F"/>
                </a:solidFill>
              </a:ln>
            </c:spPr>
            <c:extLst>
              <c:ext xmlns:c16="http://schemas.microsoft.com/office/drawing/2014/chart" uri="{C3380CC4-5D6E-409C-BE32-E72D297353CC}">
                <c16:uniqueId val="{00000005-CFF5-4D9B-9947-2A90D7752FBB}"/>
              </c:ext>
            </c:extLst>
          </c:dPt>
          <c:dPt>
            <c:idx val="3"/>
            <c:invertIfNegative val="0"/>
            <c:bubble3D val="0"/>
            <c:spPr>
              <a:solidFill>
                <a:srgbClr val="48AEA6"/>
              </a:solidFill>
              <a:ln w="10160">
                <a:solidFill>
                  <a:srgbClr val="439595"/>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82A50C9-1738-4182-9756-793AD8200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D1884FA-72A3-481F-8922-9A9BA182F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154CFDC-B391-4D90-AEC7-6B673B7F62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03BB665-AD5E-4B3E-8EBF-7ECBF30AA9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A7445B3-1532-4E77-A1E5-F93A86ED3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E7CBAAE-7F9D-4CE1-B63E-F9CE0DFD5E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B02718B-2106-4636-BE8B-9BF4185BA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7578F13-D191-4C97-BFB3-4BF268849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0.9762</c:v>
                </c:pt>
                <c:pt idx="1">
                  <c:v>2.1592</c:v>
                </c:pt>
                <c:pt idx="2">
                  <c:v>1.1418</c:v>
                </c:pt>
                <c:pt idx="3">
                  <c:v>1.275</c:v>
                </c:pt>
              </c:numCache>
            </c:numRef>
          </c:xVal>
          <c:yVal>
            <c:numRef>
              <c:f>Sheet1!$B$2:$B$5</c:f>
              <c:numCache>
                <c:formatCode>General</c:formatCode>
                <c:ptCount val="4"/>
                <c:pt idx="0">
                  <c:v>0.6837</c:v>
                </c:pt>
                <c:pt idx="1">
                  <c:v>0.4198</c:v>
                </c:pt>
                <c:pt idx="2">
                  <c:v>0.7091</c:v>
                </c:pt>
                <c:pt idx="3">
                  <c:v>0.7317</c:v>
                </c:pt>
              </c:numCache>
            </c:numRef>
          </c:yVal>
          <c:bubbleSize>
            <c:numRef>
              <c:f>Sheet1!$C$2:$C$5</c:f>
              <c:numCache>
                <c:formatCode>General</c:formatCode>
                <c:ptCount val="4"/>
                <c:pt idx="0">
                  <c:v>365615.01729999995</c:v>
                </c:pt>
                <c:pt idx="1">
                  <c:v>1046552.1157999999</c:v>
                </c:pt>
                <c:pt idx="2">
                  <c:v>1171834.1069000002</c:v>
                </c:pt>
                <c:pt idx="3">
                  <c:v>2266539.6034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53265421698722"/>
        <c:crossBetween val="midCat"/>
      </c:valAx>
      <c:valAx>
        <c:axId val="1011451359"/>
        <c:scaling>
          <c:orientation val="minMax"/>
          <c:max val="1.23804"/>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11072931220961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BFBF"/>
              </a:solidFill>
              <a:ln w="10160">
                <a:solidFill>
                  <a:srgbClr val="FF9B9B"/>
                </a:solidFill>
              </a:ln>
            </c:spPr>
            <c:extLst>
              <c:ext xmlns:c16="http://schemas.microsoft.com/office/drawing/2014/chart" uri="{C3380CC4-5D6E-409C-BE32-E72D297353CC}">
                <c16:uniqueId val="{00000001-CFF5-4D9B-9947-2A90D7752FBB}"/>
              </c:ext>
            </c:extLst>
          </c:dPt>
          <c:dPt>
            <c:idx val="1"/>
            <c:invertIfNegative val="0"/>
            <c:bubble3D val="0"/>
            <c:spPr>
              <a:solidFill>
                <a:srgbClr val="48AEA6"/>
              </a:solidFill>
              <a:ln w="10160">
                <a:solidFill>
                  <a:srgbClr val="439595"/>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a:ln w="10160">
                <a:solidFill>
                  <a:srgbClr val="FF5F5F"/>
                </a:solidFill>
              </a:ln>
            </c:spPr>
            <c:extLst>
              <c:ext xmlns:c16="http://schemas.microsoft.com/office/drawing/2014/chart" uri="{C3380CC4-5D6E-409C-BE32-E72D297353CC}">
                <c16:uniqueId val="{00000005-CFF5-4D9B-9947-2A90D7752FBB}"/>
              </c:ext>
            </c:extLst>
          </c:dPt>
          <c:dPt>
            <c:idx val="3"/>
            <c:invertIfNegative val="0"/>
            <c:bubble3D val="0"/>
            <c:spPr>
              <a:solidFill>
                <a:srgbClr val="FFBFBF"/>
              </a:solidFill>
              <a:ln w="10160">
                <a:solidFill>
                  <a:srgbClr val="FF9B9B"/>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B2DFDC"/>
              </a:solidFill>
              <a:ln w="10160">
                <a:solidFill>
                  <a:srgbClr val="8DC3C3"/>
                </a:solidFill>
              </a:ln>
            </c:spPr>
            <c:extLst>
              <c:ext xmlns:c16="http://schemas.microsoft.com/office/drawing/2014/chart" uri="{C3380CC4-5D6E-409C-BE32-E72D297353CC}">
                <c16:uniqueId val="{0000000B-7D2A-4F1E-BC80-EAAAE9B08A80}"/>
              </c:ext>
            </c:extLst>
          </c:dPt>
          <c:dPt>
            <c:idx val="5"/>
            <c:invertIfNegative val="0"/>
            <c:bubble3D val="0"/>
            <c:spPr>
              <a:solidFill>
                <a:srgbClr val="B2DFDC"/>
              </a:solidFill>
              <a:ln w="10160">
                <a:solidFill>
                  <a:srgbClr val="8DC3C3"/>
                </a:solidFill>
              </a:ln>
            </c:spPr>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1E2EB04-480E-454E-8133-5A6408452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F91D267-A156-411E-A01D-083EA5656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228C315-45FF-4A4E-9B66-08830ED02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A4730C6-8D10-4739-B9A2-BE905BDA38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AD9AE7B-6B31-448A-ABF2-64403006A9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6FF09FB-B66A-4DDF-B45C-A844E7219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9B8ACE8-F613-40B5-8ED7-C495C6FEFA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86F6A73-28D7-4269-877F-DC0DC5CF18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7653</c:v>
                </c:pt>
                <c:pt idx="1">
                  <c:v>0.9444</c:v>
                </c:pt>
                <c:pt idx="2">
                  <c:v>0.4494</c:v>
                </c:pt>
                <c:pt idx="3">
                  <c:v>0.4127</c:v>
                </c:pt>
                <c:pt idx="4">
                  <c:v>0.1407</c:v>
                </c:pt>
                <c:pt idx="5">
                  <c:v>0.1083</c:v>
                </c:pt>
              </c:numCache>
            </c:numRef>
          </c:xVal>
          <c:yVal>
            <c:numRef>
              <c:f>Sheet1!$B$2:$B$7</c:f>
              <c:numCache>
                <c:formatCode>General</c:formatCode>
                <c:ptCount val="6"/>
                <c:pt idx="0">
                  <c:v>0.4934</c:v>
                </c:pt>
                <c:pt idx="1">
                  <c:v>0.4911</c:v>
                </c:pt>
                <c:pt idx="2">
                  <c:v>0.48</c:v>
                </c:pt>
                <c:pt idx="3">
                  <c:v>0.5166</c:v>
                </c:pt>
                <c:pt idx="4">
                  <c:v>0.0104</c:v>
                </c:pt>
                <c:pt idx="5">
                  <c:v>-0.0032</c:v>
                </c:pt>
              </c:numCache>
            </c:numRef>
          </c:yVal>
          <c:bubbleSize>
            <c:numRef>
              <c:f>Sheet1!$C$2:$C$7</c:f>
              <c:numCache>
                <c:formatCode>General</c:formatCode>
                <c:ptCount val="6"/>
                <c:pt idx="0">
                  <c:v>129385.6139</c:v>
                </c:pt>
                <c:pt idx="1">
                  <c:v>310226.51689999993</c:v>
                </c:pt>
                <c:pt idx="2">
                  <c:v>100468.0599</c:v>
                </c:pt>
                <c:pt idx="3">
                  <c:v>141820.57580000002</c:v>
                </c:pt>
                <c:pt idx="4">
                  <c:v>85078.3402</c:v>
                </c:pt>
                <c:pt idx="5">
                  <c:v>185958.4334000000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546612617169682"/>
        <c:crossBetween val="midCat"/>
      </c:valAx>
      <c:valAx>
        <c:axId val="1011451359"/>
        <c:scaling>
          <c:orientation val="minMax"/>
          <c:max val="0.9799199999999999"/>
          <c:min val="-0.242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53851883490417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BFBF"/>
              </a:solidFill>
              <a:ln w="10160">
                <a:solidFill>
                  <a:srgbClr val="FF9B9B"/>
                </a:solidFill>
              </a:ln>
            </c:spPr>
            <c:extLst>
              <c:ext xmlns:c16="http://schemas.microsoft.com/office/drawing/2014/chart" uri="{C3380CC4-5D6E-409C-BE32-E72D297353CC}">
                <c16:uniqueId val="{00000001-CFF5-4D9B-9947-2A90D7752FBB}"/>
              </c:ext>
            </c:extLst>
          </c:dPt>
          <c:dPt>
            <c:idx val="1"/>
            <c:invertIfNegative val="0"/>
            <c:bubble3D val="0"/>
            <c:spPr>
              <a:solidFill>
                <a:srgbClr val="48AEA6"/>
              </a:solidFill>
              <a:ln w="10160">
                <a:solidFill>
                  <a:srgbClr val="439595"/>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BFBF"/>
              </a:solidFill>
              <a:ln w="10160">
                <a:solidFill>
                  <a:srgbClr val="FF9B9B"/>
                </a:solidFill>
              </a:ln>
            </c:spPr>
            <c:extLst>
              <c:ext xmlns:c16="http://schemas.microsoft.com/office/drawing/2014/chart" uri="{C3380CC4-5D6E-409C-BE32-E72D297353CC}">
                <c16:uniqueId val="{00000005-CFF5-4D9B-9947-2A90D7752FBB}"/>
              </c:ext>
            </c:extLst>
          </c:dPt>
          <c:dPt>
            <c:idx val="3"/>
            <c:invertIfNegative val="0"/>
            <c:bubble3D val="0"/>
            <c:spPr>
              <a:solidFill>
                <a:srgbClr val="FFBFBF"/>
              </a:solidFill>
              <a:ln w="10160">
                <a:solidFill>
                  <a:srgbClr val="FF9B9B"/>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B2DFDC"/>
              </a:solidFill>
              <a:ln w="10160">
                <a:solidFill>
                  <a:srgbClr val="8DC3C3"/>
                </a:solidFill>
              </a:ln>
            </c:spPr>
            <c:extLst>
              <c:ext xmlns:c16="http://schemas.microsoft.com/office/drawing/2014/chart" uri="{C3380CC4-5D6E-409C-BE32-E72D297353CC}">
                <c16:uniqueId val="{0000000B-7D2A-4F1E-BC80-EAAAE9B08A80}"/>
              </c:ext>
            </c:extLst>
          </c:dPt>
          <c:dPt>
            <c:idx val="5"/>
            <c:invertIfNegative val="0"/>
            <c:bubble3D val="0"/>
            <c:spPr>
              <a:solidFill>
                <a:srgbClr val="48AEA6"/>
              </a:solidFill>
              <a:ln w="10160">
                <a:solidFill>
                  <a:srgbClr val="439595"/>
                </a:solidFill>
              </a:ln>
            </c:spPr>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96240DC-83B7-402A-A28F-3DF5ECC36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CE497FD-84F0-4D69-A4D2-D63D1CCC9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D23C87C-EAE1-4F53-8B33-F2C4AE4ABD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AA2682C-F8DE-4020-9274-9A32F26AD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F2473EF-487A-4E1A-9649-EA8E68F54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8CB0DEE-F8C0-4F5B-9040-B6AA4EB90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F28BE10-15E3-484E-B45D-0C2D05829D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B3B8EB2-083F-478C-A708-A2B407A67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7653</c:v>
                </c:pt>
                <c:pt idx="1">
                  <c:v>0.9444</c:v>
                </c:pt>
                <c:pt idx="2">
                  <c:v>0.4494</c:v>
                </c:pt>
                <c:pt idx="3">
                  <c:v>0.4128</c:v>
                </c:pt>
                <c:pt idx="4">
                  <c:v>0.1407</c:v>
                </c:pt>
                <c:pt idx="5">
                  <c:v>0.1083</c:v>
                </c:pt>
              </c:numCache>
            </c:numRef>
          </c:xVal>
          <c:yVal>
            <c:numRef>
              <c:f>Sheet1!$B$2:$B$7</c:f>
              <c:numCache>
                <c:formatCode>General</c:formatCode>
                <c:ptCount val="6"/>
                <c:pt idx="0">
                  <c:v>0.4934</c:v>
                </c:pt>
                <c:pt idx="1">
                  <c:v>0.4911</c:v>
                </c:pt>
                <c:pt idx="2">
                  <c:v>0.4797</c:v>
                </c:pt>
                <c:pt idx="3">
                  <c:v>0.5165</c:v>
                </c:pt>
                <c:pt idx="4">
                  <c:v>0.0105</c:v>
                </c:pt>
                <c:pt idx="5">
                  <c:v>-0.0026</c:v>
                </c:pt>
              </c:numCache>
            </c:numRef>
          </c:yVal>
          <c:bubbleSize>
            <c:numRef>
              <c:f>Sheet1!$C$2:$C$7</c:f>
              <c:numCache>
                <c:formatCode>General</c:formatCode>
                <c:ptCount val="6"/>
                <c:pt idx="0">
                  <c:v>1798622.3696</c:v>
                </c:pt>
                <c:pt idx="1">
                  <c:v>4518773.504000001</c:v>
                </c:pt>
                <c:pt idx="2">
                  <c:v>1614221.3449</c:v>
                </c:pt>
                <c:pt idx="3">
                  <c:v>1997336.7136000001</c:v>
                </c:pt>
                <c:pt idx="4">
                  <c:v>1228819.4014000003</c:v>
                </c:pt>
                <c:pt idx="5">
                  <c:v>2298580.1270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558958164433314"/>
        <c:crossBetween val="midCat"/>
      </c:valAx>
      <c:valAx>
        <c:axId val="1011451359"/>
        <c:scaling>
          <c:orientation val="minMax"/>
          <c:max val="0.9798"/>
          <c:min val="-0.242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65961514335304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B2DFDC"/>
              </a:solidFill>
              <a:ln w="10160">
                <a:solidFill>
                  <a:srgbClr val="8DC3C3"/>
                </a:solidFill>
              </a:ln>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w="10160">
                <a:solidFill>
                  <a:srgbClr val="BCBBBB"/>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a:ln w="10160">
                <a:solidFill>
                  <a:srgbClr val="BCBBBB"/>
                </a:solidFill>
              </a:ln>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w="10160">
                <a:solidFill>
                  <a:srgbClr val="FF5F5F"/>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B2DFDC"/>
              </a:solidFill>
              <a:ln w="10160">
                <a:solidFill>
                  <a:srgbClr val="8DC3C3"/>
                </a:solidFill>
              </a:ln>
            </c:spPr>
            <c:extLst>
              <c:ext xmlns:c16="http://schemas.microsoft.com/office/drawing/2014/chart" uri="{C3380CC4-5D6E-409C-BE32-E72D297353CC}">
                <c16:uniqueId val="{0000000B-7D2A-4F1E-BC80-EAAAE9B08A80}"/>
              </c:ext>
            </c:extLst>
          </c:dPt>
          <c:dPt>
            <c:idx val="5"/>
            <c:invertIfNegative val="0"/>
            <c:bubble3D val="0"/>
            <c:spPr>
              <a:solidFill>
                <a:srgbClr val="48AEA6"/>
              </a:solidFill>
              <a:ln w="10160">
                <a:solidFill>
                  <a:srgbClr val="439595"/>
                </a:solidFill>
              </a:ln>
            </c:spPr>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B315AEA-E3AB-401F-BB5F-BC2BFB55A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BA2C697-E1B1-4722-A050-9AA219ABF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B61690C-14C8-41E4-AD86-F7A988A8BA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8F18217-E4EB-4292-9440-0CCBF30CA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EAA2CC5-7B46-4105-B7AF-DB0240540B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6B67B6D-D921-4C23-B159-9C8EDA6E26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0ED1A6C-889F-4683-B724-49A0C200BD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9922FB4-F328-4880-B5F4-F0D352152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7653</c:v>
                </c:pt>
                <c:pt idx="1">
                  <c:v>0.9444</c:v>
                </c:pt>
                <c:pt idx="2">
                  <c:v>0.4494</c:v>
                </c:pt>
                <c:pt idx="3">
                  <c:v>0.4127</c:v>
                </c:pt>
                <c:pt idx="4">
                  <c:v>0.1407</c:v>
                </c:pt>
                <c:pt idx="5">
                  <c:v>0.1083</c:v>
                </c:pt>
              </c:numCache>
            </c:numRef>
          </c:xVal>
          <c:yVal>
            <c:numRef>
              <c:f>Sheet1!$B$2:$B$7</c:f>
              <c:numCache>
                <c:formatCode>General</c:formatCode>
                <c:ptCount val="6"/>
                <c:pt idx="0">
                  <c:v>0.4936</c:v>
                </c:pt>
                <c:pt idx="1">
                  <c:v>0.4909</c:v>
                </c:pt>
                <c:pt idx="2">
                  <c:v>0.4789</c:v>
                </c:pt>
                <c:pt idx="3">
                  <c:v>0.5158</c:v>
                </c:pt>
                <c:pt idx="4">
                  <c:v>0.012</c:v>
                </c:pt>
                <c:pt idx="5">
                  <c:v>-0.0022</c:v>
                </c:pt>
              </c:numCache>
            </c:numRef>
          </c:yVal>
          <c:bubbleSize>
            <c:numRef>
              <c:f>Sheet1!$C$2:$C$7</c:f>
              <c:numCache>
                <c:formatCode>General</c:formatCode>
                <c:ptCount val="6"/>
                <c:pt idx="0">
                  <c:v>119428.28789999997</c:v>
                </c:pt>
                <c:pt idx="1">
                  <c:v>272475.62769999995</c:v>
                </c:pt>
                <c:pt idx="2">
                  <c:v>106130.81490000003</c:v>
                </c:pt>
                <c:pt idx="3">
                  <c:v>125001.96189999998</c:v>
                </c:pt>
                <c:pt idx="4">
                  <c:v>114348.9244</c:v>
                </c:pt>
                <c:pt idx="5">
                  <c:v>174687.437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3878648307854525"/>
        <c:crossBetween val="midCat"/>
      </c:valAx>
      <c:valAx>
        <c:axId val="1011451359"/>
        <c:scaling>
          <c:orientation val="minMax"/>
          <c:max val="0.97896"/>
          <c:min val="-0.24175999999999997"/>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29579829337894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B2DFDC"/>
              </a:solidFill>
              <a:ln w="10160">
                <a:solidFill>
                  <a:srgbClr val="8DC3C3"/>
                </a:solidFill>
              </a:ln>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4A43AF2-6B43-48D4-A22F-CEB9C8BA3B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16147A2-E81E-49C9-AD50-FCA57D0D2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D2E7BBE-8B56-421C-8AAF-B6C7B33F9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0E8988F-FCFE-403E-8205-5BF98A0EFA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E1AF3D9-7E0C-448F-B953-5DBE4588E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7AC0A6F-3BFE-47A8-870C-995B65567D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7C0F317-3155-4FA4-BB76-01DA0DDADA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176EB59-A9F1-4C0C-ABFE-5C2A11BB7F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2956</c:v>
                </c:pt>
              </c:numCache>
            </c:numRef>
          </c:xVal>
          <c:yVal>
            <c:numRef>
              <c:f>Sheet1!$B$2:$B$2</c:f>
              <c:numCache>
                <c:formatCode>General</c:formatCode>
                <c:ptCount val="1"/>
                <c:pt idx="0">
                  <c:v>0.3656</c:v>
                </c:pt>
              </c:numCache>
            </c:numRef>
          </c:yVal>
          <c:bubbleSize>
            <c:numRef>
              <c:f>Sheet1!$C$2:$C$2</c:f>
              <c:numCache>
                <c:formatCode>General</c:formatCode>
                <c:ptCount val="1"/>
                <c:pt idx="0">
                  <c:v>13456423.15850001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56"/>
        <c:crossBetween val="midCat"/>
      </c:valAx>
      <c:valAx>
        <c:axId val="1011451359"/>
        <c:scaling>
          <c:orientation val="minMax"/>
          <c:max val="0.79872"/>
          <c:min val="0.0524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295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BFBF"/>
              </a:solidFill>
              <a:ln w="10160">
                <a:solidFill>
                  <a:srgbClr val="FF9B9B"/>
                </a:solidFill>
              </a:ln>
            </c:spPr>
            <c:extLst>
              <c:ext xmlns:c16="http://schemas.microsoft.com/office/drawing/2014/chart" uri="{C3380CC4-5D6E-409C-BE32-E72D297353CC}">
                <c16:uniqueId val="{00000001-CFF5-4D9B-9947-2A90D7752FBB}"/>
              </c:ext>
            </c:extLst>
          </c:dPt>
          <c:dPt>
            <c:idx val="1"/>
            <c:invertIfNegative val="0"/>
            <c:bubble3D val="0"/>
            <c:spPr>
              <a:solidFill>
                <a:srgbClr val="48AEA6"/>
              </a:solidFill>
              <a:ln w="10160">
                <a:solidFill>
                  <a:srgbClr val="439595"/>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BFBF"/>
              </a:solidFill>
              <a:ln w="10160">
                <a:solidFill>
                  <a:srgbClr val="FF9B9B"/>
                </a:solidFill>
              </a:ln>
            </c:spPr>
            <c:extLst>
              <c:ext xmlns:c16="http://schemas.microsoft.com/office/drawing/2014/chart" uri="{C3380CC4-5D6E-409C-BE32-E72D297353CC}">
                <c16:uniqueId val="{00000005-CFF5-4D9B-9947-2A90D7752FBB}"/>
              </c:ext>
            </c:extLst>
          </c:dPt>
          <c:dPt>
            <c:idx val="3"/>
            <c:invertIfNegative val="0"/>
            <c:bubble3D val="0"/>
            <c:spPr>
              <a:solidFill>
                <a:srgbClr val="FFBFBF"/>
              </a:solidFill>
              <a:ln w="10160">
                <a:solidFill>
                  <a:srgbClr val="FF9B9B"/>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B2DFDC"/>
              </a:solidFill>
              <a:ln w="10160">
                <a:solidFill>
                  <a:srgbClr val="8DC3C3"/>
                </a:solidFill>
              </a:ln>
            </c:spPr>
            <c:extLst>
              <c:ext xmlns:c16="http://schemas.microsoft.com/office/drawing/2014/chart" uri="{C3380CC4-5D6E-409C-BE32-E72D297353CC}">
                <c16:uniqueId val="{0000000B-7D2A-4F1E-BC80-EAAAE9B08A80}"/>
              </c:ext>
            </c:extLst>
          </c:dPt>
          <c:dPt>
            <c:idx val="5"/>
            <c:invertIfNegative val="0"/>
            <c:bubble3D val="0"/>
            <c:spPr>
              <a:solidFill>
                <a:srgbClr val="48AEA6"/>
              </a:solidFill>
              <a:ln w="10160">
                <a:solidFill>
                  <a:srgbClr val="439595"/>
                </a:solidFill>
              </a:ln>
            </c:spPr>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D903A8B-A344-449E-9DAD-80EFE1BDC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5F19473-8865-451B-9DD5-337598D7C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603CA2A-647A-4834-B501-F7BBBED77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D9C419E-543A-4709-BEA6-89A63F4DB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4DB9674-7DBC-4BC6-8F82-E65B6BAB6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BC9BFF9-4612-4BAB-A30F-D18BBFA59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42DA9A6-1129-4C61-AD4A-C7AB2D1229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C3E0BB6-20BA-4FF9-9C59-6F8F3F4A80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7653</c:v>
                </c:pt>
                <c:pt idx="1">
                  <c:v>0.9444</c:v>
                </c:pt>
                <c:pt idx="2">
                  <c:v>0.4494</c:v>
                </c:pt>
                <c:pt idx="3">
                  <c:v>0.4128</c:v>
                </c:pt>
                <c:pt idx="4">
                  <c:v>0.1407</c:v>
                </c:pt>
                <c:pt idx="5">
                  <c:v>0.1083</c:v>
                </c:pt>
              </c:numCache>
            </c:numRef>
          </c:xVal>
          <c:yVal>
            <c:numRef>
              <c:f>Sheet1!$B$2:$B$7</c:f>
              <c:numCache>
                <c:formatCode>General</c:formatCode>
                <c:ptCount val="6"/>
                <c:pt idx="0">
                  <c:v>0.4934</c:v>
                </c:pt>
                <c:pt idx="1">
                  <c:v>0.4911</c:v>
                </c:pt>
                <c:pt idx="2">
                  <c:v>0.4798</c:v>
                </c:pt>
                <c:pt idx="3">
                  <c:v>0.5166</c:v>
                </c:pt>
                <c:pt idx="4">
                  <c:v>0.0104</c:v>
                </c:pt>
                <c:pt idx="5">
                  <c:v>-0.0026</c:v>
                </c:pt>
              </c:numCache>
            </c:numRef>
          </c:yVal>
          <c:bubbleSize>
            <c:numRef>
              <c:f>Sheet1!$C$2:$C$7</c:f>
              <c:numCache>
                <c:formatCode>General</c:formatCode>
                <c:ptCount val="6"/>
                <c:pt idx="0">
                  <c:v>1549808.4677999998</c:v>
                </c:pt>
                <c:pt idx="1">
                  <c:v>3936071.3593999995</c:v>
                </c:pt>
                <c:pt idx="2">
                  <c:v>1407622.4701</c:v>
                </c:pt>
                <c:pt idx="3">
                  <c:v>1730514.1759000001</c:v>
                </c:pt>
                <c:pt idx="4">
                  <c:v>1029392.1368000001</c:v>
                </c:pt>
                <c:pt idx="5">
                  <c:v>1937934.25580000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861199997818633"/>
        <c:crossBetween val="midCat"/>
      </c:valAx>
      <c:valAx>
        <c:axId val="1011451359"/>
        <c:scaling>
          <c:orientation val="minMax"/>
          <c:max val="0.9799199999999999"/>
          <c:min val="-0.242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69817477760736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a:solidFill>
                  <a:srgbClr val="FF5F5F"/>
                </a:solidFill>
              </a:ln>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FF069D1-545D-46B9-B4C4-09DD8B2D0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3F22495-950C-42FE-98DF-AEEDC6EC07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49D0E7A-CF51-40A3-8C0A-0AAE70371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2E8C009-3AAB-4E3F-A66F-36D2D497B7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479D4FD5-631D-4923-B3F0-4ACD0F64F4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BC11DA7-5EBF-4CAC-9355-4B2D6C174B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54552DF-3B5E-441A-B56F-D759DF0002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FBEE7FA-37AC-4BB1-A2E1-377FD8242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86</c:v>
                </c:pt>
              </c:numCache>
            </c:numRef>
          </c:xVal>
          <c:yVal>
            <c:numRef>
              <c:f>Sheet1!$B$2:$B$2</c:f>
              <c:numCache>
                <c:formatCode>General</c:formatCode>
                <c:ptCount val="1"/>
                <c:pt idx="0">
                  <c:v>0.4195</c:v>
                </c:pt>
              </c:numCache>
            </c:numRef>
          </c:yVal>
          <c:bubbleSize>
            <c:numRef>
              <c:f>Sheet1!$C$2:$C$2</c:f>
              <c:numCache>
                <c:formatCode>General</c:formatCode>
                <c:ptCount val="1"/>
                <c:pt idx="0">
                  <c:v>78650.09289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5"/>
        <c:crossBetween val="midCat"/>
      </c:valAx>
      <c:valAx>
        <c:axId val="1011451359"/>
        <c:scaling>
          <c:orientation val="minMax"/>
          <c:max val="0.8634000000000001"/>
          <c:min val="0.09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8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a:solidFill>
                  <a:srgbClr val="FF5F5F"/>
                </a:solidFill>
              </a:ln>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8F3A505-FA6E-4CEB-8606-FB45AAECB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5C6287B-85EA-4380-B9C5-AB2984FEF4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E79E6660-B2D2-4E4D-9299-76C6CEDAC2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D6ED601-868C-46CA-8546-76095CB85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ADC5934-6498-44D4-BFFA-A5E02D67B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400D079-1F83-4A7D-874E-1B87B9FC7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F5E36E9-DAFA-47F6-B6D6-BCCCB0E40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9D306DE-4284-4C6B-8C92-CE98A26892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91</c:v>
                </c:pt>
              </c:numCache>
            </c:numRef>
          </c:xVal>
          <c:yVal>
            <c:numRef>
              <c:f>Sheet1!$B$2:$B$2</c:f>
              <c:numCache>
                <c:formatCode>General</c:formatCode>
                <c:ptCount val="1"/>
                <c:pt idx="0">
                  <c:v>0.4198</c:v>
                </c:pt>
              </c:numCache>
            </c:numRef>
          </c:yVal>
          <c:bubbleSize>
            <c:numRef>
              <c:f>Sheet1!$C$2:$C$2</c:f>
              <c:numCache>
                <c:formatCode>General</c:formatCode>
                <c:ptCount val="1"/>
                <c:pt idx="0">
                  <c:v>1214691.3791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8"/>
        <c:crossBetween val="midCat"/>
      </c:valAx>
      <c:valAx>
        <c:axId val="1011451359"/>
        <c:scaling>
          <c:orientation val="minMax"/>
          <c:max val="0.86376"/>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a:solidFill>
                  <a:srgbClr val="FF5F5F"/>
                </a:solidFill>
              </a:ln>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FA12358-5CA6-4ECC-89EB-D8C606D49F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2AA5E22-BCFD-4839-89FF-5FD740876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412D3DA-CA27-461E-8BE1-4AA7E1B29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F6CDD9D-9BE4-45DA-822F-B9C461A946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240FABC-8B55-45BF-981B-109986B23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2F1BE32-1D7C-4C5D-8D60-FD033FEB0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69C2C22-2909-4D8C-A1F6-BB2FF60D3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66C6105-FF10-4C92-9563-6675186BFA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92</c:v>
                </c:pt>
              </c:numCache>
            </c:numRef>
          </c:xVal>
          <c:yVal>
            <c:numRef>
              <c:f>Sheet1!$B$2:$B$2</c:f>
              <c:numCache>
                <c:formatCode>General</c:formatCode>
                <c:ptCount val="1"/>
                <c:pt idx="0">
                  <c:v>0.4198</c:v>
                </c:pt>
              </c:numCache>
            </c:numRef>
          </c:yVal>
          <c:bubbleSize>
            <c:numRef>
              <c:f>Sheet1!$C$2:$C$2</c:f>
              <c:numCache>
                <c:formatCode>General</c:formatCode>
                <c:ptCount val="1"/>
                <c:pt idx="0">
                  <c:v>1046552.1157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8"/>
        <c:crossBetween val="midCat"/>
      </c:valAx>
      <c:valAx>
        <c:axId val="1011451359"/>
        <c:scaling>
          <c:orientation val="minMax"/>
          <c:max val="0.86376"/>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BFBF"/>
              </a:solidFill>
              <a:ln w="10160">
                <a:solidFill>
                  <a:srgbClr val="FF9B9B"/>
                </a:solidFill>
              </a:ln>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2FFFAB6-B7D5-4093-AF11-BCC36B9DB8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0BDF2D3-528F-4FA5-9C4F-EFD1B3191D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367282F-C8DC-4074-A61B-508F7A3F9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FB9E5D7B-7086-47D5-9B39-A2DE0861A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433B09D-45EB-43E0-9656-5E04FB90B7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BDAC6D6-CD99-4921-8ECA-98E70A9669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8C72765-4AC3-4804-87B1-228FA0034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8210D50-E0B6-4917-BFCC-391D1042A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89</c:v>
                </c:pt>
              </c:numCache>
            </c:numRef>
          </c:xVal>
          <c:yVal>
            <c:numRef>
              <c:f>Sheet1!$B$2:$B$2</c:f>
              <c:numCache>
                <c:formatCode>General</c:formatCode>
                <c:ptCount val="1"/>
                <c:pt idx="0">
                  <c:v>0.4199</c:v>
                </c:pt>
              </c:numCache>
            </c:numRef>
          </c:yVal>
          <c:bubbleSize>
            <c:numRef>
              <c:f>Sheet1!$C$2:$C$2</c:f>
              <c:numCache>
                <c:formatCode>General</c:formatCode>
                <c:ptCount val="1"/>
                <c:pt idx="0">
                  <c:v>89489.17039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9"/>
        <c:crossBetween val="midCat"/>
      </c:valAx>
      <c:valAx>
        <c:axId val="1011451359"/>
        <c:scaling>
          <c:orientation val="minMax"/>
          <c:max val="0.86388"/>
          <c:min val="0.0959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8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a:solidFill>
                  <a:srgbClr val="FF5F5F"/>
                </a:solidFill>
              </a:ln>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w="10160">
                <a:solidFill>
                  <a:srgbClr val="FF5F5F"/>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a:ln w="10160">
                <a:solidFill>
                  <a:srgbClr val="FF5F5F"/>
                </a:solidFill>
              </a:ln>
            </c:spPr>
            <c:extLst>
              <c:ext xmlns:c16="http://schemas.microsoft.com/office/drawing/2014/chart" uri="{C3380CC4-5D6E-409C-BE32-E72D297353CC}">
                <c16:uniqueId val="{00000005-CFF5-4D9B-9947-2A90D7752FBB}"/>
              </c:ext>
            </c:extLst>
          </c:dPt>
          <c:dPt>
            <c:idx val="3"/>
            <c:invertIfNegative val="0"/>
            <c:bubble3D val="0"/>
            <c:spPr>
              <a:solidFill>
                <a:srgbClr val="48AEA6"/>
              </a:solidFill>
              <a:ln w="10160">
                <a:solidFill>
                  <a:srgbClr val="439595"/>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73597BF-99F7-4C11-950C-AE6F28A00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A01E7CA-F7DC-499E-95A6-9249BD4C87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CC8F7A4-12B5-473B-961A-EE9B34102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6CE3DD7-3A4A-49F7-86B0-C58F1181DD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82D34C8-F990-49D4-A6C2-A328C7CC8E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831D703-C694-4C0D-8B2F-5092173AE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C5429F6-4BB4-4ED7-B41A-1D48A78C3D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FE6FAC6-00DF-4751-AAF6-05BA98FB5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0.9761</c:v>
                </c:pt>
                <c:pt idx="1">
                  <c:v>0.916</c:v>
                </c:pt>
                <c:pt idx="2">
                  <c:v>1.1417</c:v>
                </c:pt>
                <c:pt idx="3">
                  <c:v>1.275</c:v>
                </c:pt>
              </c:numCache>
            </c:numRef>
          </c:xVal>
          <c:yVal>
            <c:numRef>
              <c:f>Sheet1!$B$2:$B$5</c:f>
              <c:numCache>
                <c:formatCode>General</c:formatCode>
                <c:ptCount val="4"/>
                <c:pt idx="0">
                  <c:v>0.6837</c:v>
                </c:pt>
                <c:pt idx="1">
                  <c:v>0.7386</c:v>
                </c:pt>
                <c:pt idx="2">
                  <c:v>0.7091</c:v>
                </c:pt>
                <c:pt idx="3">
                  <c:v>0.7317</c:v>
                </c:pt>
              </c:numCache>
            </c:numRef>
          </c:yVal>
          <c:bubbleSize>
            <c:numRef>
              <c:f>Sheet1!$C$2:$C$5</c:f>
              <c:numCache>
                <c:formatCode>General</c:formatCode>
                <c:ptCount val="4"/>
                <c:pt idx="0">
                  <c:v>423999.0885</c:v>
                </c:pt>
                <c:pt idx="1">
                  <c:v>1094.5674000000001</c:v>
                </c:pt>
                <c:pt idx="2">
                  <c:v>1343734.6551</c:v>
                </c:pt>
                <c:pt idx="3">
                  <c:v>2611438.9335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1224399776706"/>
        <c:crossBetween val="midCat"/>
      </c:valAx>
      <c:valAx>
        <c:axId val="1011451359"/>
        <c:scaling>
          <c:orientation val="minMax"/>
          <c:max val="1.2463199999999999"/>
          <c:min val="0.306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5085063382463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a:solidFill>
                  <a:srgbClr val="FF5F5F"/>
                </a:solidFill>
              </a:ln>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w="10160">
                <a:solidFill>
                  <a:srgbClr val="FF5F5F"/>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48AEA6"/>
              </a:solidFill>
              <a:ln w="10160">
                <a:solidFill>
                  <a:srgbClr val="439595"/>
                </a:solidFill>
              </a:ln>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0E0CF75-7461-479A-A1D5-1BC67D783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9B0F92D-41F2-4F4A-AB5D-EC979D482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E8FF84F-FFBE-4029-BF7F-14431B5B75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461E6A4-D94D-4381-A923-2CEA3680F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DF317E8-D7B6-4A5E-B1A3-C4B83DD85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5AC1D65-F3CA-4343-AF98-D6D8A322BE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9D20A48-76AE-449A-B022-5C548BBAF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16FE848-29F0-449A-B2EB-55F6DE9E00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755</c:v>
                </c:pt>
                <c:pt idx="1">
                  <c:v>1.1413</c:v>
                </c:pt>
                <c:pt idx="2">
                  <c:v>1.2749</c:v>
                </c:pt>
              </c:numCache>
            </c:numRef>
          </c:xVal>
          <c:yVal>
            <c:numRef>
              <c:f>Sheet1!$B$2:$B$4</c:f>
              <c:numCache>
                <c:formatCode>General</c:formatCode>
                <c:ptCount val="3"/>
                <c:pt idx="0">
                  <c:v>0.6837</c:v>
                </c:pt>
                <c:pt idx="1">
                  <c:v>0.7091</c:v>
                </c:pt>
                <c:pt idx="2">
                  <c:v>0.7317</c:v>
                </c:pt>
              </c:numCache>
            </c:numRef>
          </c:yVal>
          <c:bubbleSize>
            <c:numRef>
              <c:f>Sheet1!$C$2:$C$4</c:f>
              <c:numCache>
                <c:formatCode>General</c:formatCode>
                <c:ptCount val="3"/>
                <c:pt idx="0">
                  <c:v>30082.322399999997</c:v>
                </c:pt>
                <c:pt idx="1">
                  <c:v>85603.14790000001</c:v>
                </c:pt>
                <c:pt idx="2">
                  <c:v>162101.853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195375205523911"/>
        <c:crossBetween val="midCat"/>
      </c:valAx>
      <c:valAx>
        <c:axId val="1011451359"/>
        <c:scaling>
          <c:orientation val="minMax"/>
          <c:max val="1.23804"/>
          <c:min val="0.306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1306908713518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a:solidFill>
                  <a:srgbClr val="FF5F5F"/>
                </a:solidFill>
              </a:ln>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w="10160">
                <a:solidFill>
                  <a:srgbClr val="FF5F5F"/>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48AEA6"/>
              </a:solidFill>
              <a:ln w="10160">
                <a:solidFill>
                  <a:srgbClr val="439595"/>
                </a:solidFill>
              </a:ln>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D5B3516-0E0B-4157-9598-5ED158AE4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FBC4C6A-9773-4E43-B4F5-A650B803B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2F096B4-81E8-4B62-9130-9700DEC0C5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AA11BCC-B0CB-43F1-A68A-3CF8809602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5E5BC5B-8382-4971-B107-45105F5BAF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75F6D59-00A3-4D6A-8334-F40F0586E7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7AD6CB3-3D4E-4BA8-95FC-0966C58E4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2158739-777B-4DF0-9C43-520F3823C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762</c:v>
                </c:pt>
                <c:pt idx="1">
                  <c:v>1.1418</c:v>
                </c:pt>
                <c:pt idx="2">
                  <c:v>1.275</c:v>
                </c:pt>
              </c:numCache>
            </c:numRef>
          </c:xVal>
          <c:yVal>
            <c:numRef>
              <c:f>Sheet1!$B$2:$B$4</c:f>
              <c:numCache>
                <c:formatCode>General</c:formatCode>
                <c:ptCount val="3"/>
                <c:pt idx="0">
                  <c:v>0.6837</c:v>
                </c:pt>
                <c:pt idx="1">
                  <c:v>0.7091</c:v>
                </c:pt>
                <c:pt idx="2">
                  <c:v>0.7317</c:v>
                </c:pt>
              </c:numCache>
            </c:numRef>
          </c:yVal>
          <c:bubbleSize>
            <c:numRef>
              <c:f>Sheet1!$C$2:$C$4</c:f>
              <c:numCache>
                <c:formatCode>General</c:formatCode>
                <c:ptCount val="3"/>
                <c:pt idx="0">
                  <c:v>365615.01729999995</c:v>
                </c:pt>
                <c:pt idx="1">
                  <c:v>1171834.1069000002</c:v>
                </c:pt>
                <c:pt idx="2">
                  <c:v>2266539.6034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1245262543237"/>
        <c:crossBetween val="midCat"/>
      </c:valAx>
      <c:valAx>
        <c:axId val="1011451359"/>
        <c:scaling>
          <c:orientation val="minMax"/>
          <c:max val="1.23804"/>
          <c:min val="0.306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5248460444637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a:solidFill>
                  <a:srgbClr val="FF5F5F"/>
                </a:solidFill>
              </a:ln>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w="10160">
                <a:solidFill>
                  <a:srgbClr val="FF9B9B"/>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48AEA6"/>
              </a:solidFill>
              <a:ln w="10160">
                <a:solidFill>
                  <a:srgbClr val="439595"/>
                </a:solidFill>
              </a:ln>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722E1F2-EAE2-41F6-9CE8-B03E271D80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42F8FED-3F73-48B5-B62A-E2D4F294F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C3C9EB5-CE19-45BE-9A55-9B3114995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0A1F352-833E-4224-BA42-387D65A8AA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B78F0D9-4DE5-410B-9B4A-6BD11FC61D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14D565A-DAFF-4E58-B255-9B67AB446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A72088F-040D-46BC-B581-9DEB047B41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F9EF99A-2F59-4FAF-B078-DFA5B6AEC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758</c:v>
                </c:pt>
                <c:pt idx="1">
                  <c:v>1.1412</c:v>
                </c:pt>
                <c:pt idx="2">
                  <c:v>1.2748</c:v>
                </c:pt>
              </c:numCache>
            </c:numRef>
          </c:xVal>
          <c:yVal>
            <c:numRef>
              <c:f>Sheet1!$B$2:$B$4</c:f>
              <c:numCache>
                <c:formatCode>General</c:formatCode>
                <c:ptCount val="3"/>
                <c:pt idx="0">
                  <c:v>0.6837</c:v>
                </c:pt>
                <c:pt idx="1">
                  <c:v>0.7091</c:v>
                </c:pt>
                <c:pt idx="2">
                  <c:v>0.7318</c:v>
                </c:pt>
              </c:numCache>
            </c:numRef>
          </c:yVal>
          <c:bubbleSize>
            <c:numRef>
              <c:f>Sheet1!$C$2:$C$4</c:f>
              <c:numCache>
                <c:formatCode>General</c:formatCode>
                <c:ptCount val="3"/>
                <c:pt idx="0">
                  <c:v>28301.748799999998</c:v>
                </c:pt>
                <c:pt idx="1">
                  <c:v>86297.40030000001</c:v>
                </c:pt>
                <c:pt idx="2">
                  <c:v>182797.47649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6355656443937"/>
        <c:crossBetween val="midCat"/>
      </c:valAx>
      <c:valAx>
        <c:axId val="1011451359"/>
        <c:scaling>
          <c:orientation val="minMax"/>
          <c:max val="1.23816"/>
          <c:min val="0.306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7578135828048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B2DFDC"/>
              </a:solidFill>
              <a:ln w="10160">
                <a:solidFill>
                  <a:srgbClr val="8DC3C3"/>
                </a:solidFill>
              </a:ln>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2855424-38DC-4151-88AB-D461901E5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84EC511-662F-4C4C-B74F-A0E24857D5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3695071-AFC9-43FA-B1EF-9FD14F374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74F13B0-8ECE-4336-ADCA-E9FF4FDC61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F120B8C-A08A-4698-820C-4D2DDDED4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3851228-82F4-4B1D-A4BD-8D9785B5A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C63979E-E8E5-4F1E-874B-CA507935F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FC532DA-9713-4BFC-ACB2-F4562EFE3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3829</c:v>
                </c:pt>
              </c:numCache>
            </c:numRef>
          </c:xVal>
          <c:yVal>
            <c:numRef>
              <c:f>Sheet1!$B$2:$B$2</c:f>
              <c:numCache>
                <c:formatCode>General</c:formatCode>
                <c:ptCount val="1"/>
                <c:pt idx="0">
                  <c:v>0.4506</c:v>
                </c:pt>
              </c:numCache>
            </c:numRef>
          </c:yVal>
          <c:bubbleSize>
            <c:numRef>
              <c:f>Sheet1!$C$2:$C$2</c:f>
              <c:numCache>
                <c:formatCode>General</c:formatCode>
                <c:ptCount val="1"/>
                <c:pt idx="0">
                  <c:v>19051381.7821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6"/>
        <c:crossBetween val="midCat"/>
      </c:valAx>
      <c:valAx>
        <c:axId val="1011451359"/>
        <c:scaling>
          <c:orientation val="minMax"/>
          <c:max val="0.9007199999999999"/>
          <c:min val="0.12048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382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a:solidFill>
                  <a:srgbClr val="FF5F5F"/>
                </a:solidFill>
              </a:ln>
            </c:spPr>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D3D9D4A-BEC7-4213-B940-96111ADC68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CADE327-2419-4084-B47B-92C9D0B1E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CBD3291-97AB-4926-903F-C24E6EDB3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7B56A6D-2FC7-4700-83D6-9E05EA5410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43C3C90-F123-49FF-8918-C935F74BA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9524E4F-B8DE-4D60-B78B-1DF92D602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80AC9E9-E3BC-405B-A227-E90697E3A5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6769351-49C5-444B-93A6-4D2D7BAC50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91</c:v>
                </c:pt>
              </c:numCache>
            </c:numRef>
          </c:xVal>
          <c:yVal>
            <c:numRef>
              <c:f>Sheet1!$B$2:$B$2</c:f>
              <c:numCache>
                <c:formatCode>General</c:formatCode>
                <c:ptCount val="1"/>
                <c:pt idx="0">
                  <c:v>0.4198</c:v>
                </c:pt>
              </c:numCache>
            </c:numRef>
          </c:yVal>
          <c:bubbleSize>
            <c:numRef>
              <c:f>Sheet1!$C$2:$C$2</c:f>
              <c:numCache>
                <c:formatCode>General</c:formatCode>
                <c:ptCount val="1"/>
                <c:pt idx="0">
                  <c:v>1214691.379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8"/>
        <c:crossBetween val="midCat"/>
      </c:valAx>
      <c:valAx>
        <c:axId val="1011451359"/>
        <c:scaling>
          <c:orientation val="minMax"/>
          <c:max val="0.86376"/>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48AEA6"/>
              </a:solidFill>
              <a:ln w="10160">
                <a:solidFill>
                  <a:srgbClr val="439595"/>
                </a:solidFill>
              </a:ln>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w="10160">
                <a:solidFill>
                  <a:srgbClr val="BCBBBB"/>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B2DFDC"/>
              </a:solidFill>
              <a:ln w="10160">
                <a:solidFill>
                  <a:srgbClr val="8DC3C3"/>
                </a:solidFill>
              </a:ln>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C11638B-0BDA-4D68-AF53-0F36EC3C1B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EB272EE-E489-42C1-9689-BD66EE2C1A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355619C-5F92-4B9D-91E5-06039575BD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CD00C624-0FE5-478A-A703-E2179E7C4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9A110BF-E5F8-44CC-B5B7-7F2A5178CD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9812EC7-7713-47BF-B5F5-951BE9951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5DCA6B2-CEF6-41AC-B2E1-9BBF5EA32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3E02377-92D4-4164-B1C5-7C58B1307E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3365</c:v>
                </c:pt>
                <c:pt idx="1">
                  <c:v>1.3228</c:v>
                </c:pt>
                <c:pt idx="2">
                  <c:v>1.324</c:v>
                </c:pt>
              </c:numCache>
            </c:numRef>
          </c:xVal>
          <c:yVal>
            <c:numRef>
              <c:f>Sheet1!$B$2:$B$4</c:f>
              <c:numCache>
                <c:formatCode>General</c:formatCode>
                <c:ptCount val="3"/>
                <c:pt idx="0">
                  <c:v>0.6511</c:v>
                </c:pt>
                <c:pt idx="1">
                  <c:v>0.6533</c:v>
                </c:pt>
                <c:pt idx="2">
                  <c:v>0.6553</c:v>
                </c:pt>
              </c:numCache>
            </c:numRef>
          </c:yVal>
          <c:bubbleSize>
            <c:numRef>
              <c:f>Sheet1!$C$2:$C$4</c:f>
              <c:numCache>
                <c:formatCode>General</c:formatCode>
                <c:ptCount val="3"/>
                <c:pt idx="0">
                  <c:v>386945.9783999999</c:v>
                </c:pt>
                <c:pt idx="1">
                  <c:v>356505.12200000003</c:v>
                </c:pt>
                <c:pt idx="2">
                  <c:v>4851507.52330000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48820910375681"/>
        <c:crossBetween val="midCat"/>
      </c:valAx>
      <c:valAx>
        <c:axId val="1011451359"/>
        <c:scaling>
          <c:orientation val="minMax"/>
          <c:max val="1.14636"/>
          <c:min val="0.2808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324788034171499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48AEA6"/>
              </a:solidFill>
              <a:ln w="10160">
                <a:solidFill>
                  <a:srgbClr val="439595"/>
                </a:solidFill>
              </a:ln>
            </c:spPr>
            <c:extLst>
              <c:ext xmlns:c16="http://schemas.microsoft.com/office/drawing/2014/chart" uri="{C3380CC4-5D6E-409C-BE32-E72D297353CC}">
                <c16:uniqueId val="{00000001-CFF5-4D9B-9947-2A90D7752FBB}"/>
              </c:ext>
            </c:extLst>
          </c:dPt>
          <c:dPt>
            <c:idx val="1"/>
            <c:invertIfNegative val="0"/>
            <c:bubble3D val="0"/>
            <c:spPr>
              <a:solidFill>
                <a:srgbClr val="48AEA6"/>
              </a:solidFill>
              <a:ln w="10160">
                <a:solidFill>
                  <a:srgbClr val="439595"/>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48AEA6"/>
              </a:solidFill>
              <a:ln w="10160">
                <a:solidFill>
                  <a:srgbClr val="439595"/>
                </a:solidFill>
              </a:ln>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11582F7-3AB4-4691-A2E5-903CB2456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EDD8FBA-B1E1-4E01-AE77-DAAC5C1E4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E927A8F-454F-4E69-B6E9-89486250ED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6EABAD5-431B-471F-8487-B30A45C9DB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0ACD4F7-ADB4-4241-8DC3-A00213B1EF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5B3AD5A-A2F5-4A59-858A-1DB0AF34E7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CE78EFD-2295-4DFA-B44F-1A670ED287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985E4864-7F9E-4081-866A-58E1D63BB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9</c:v>
                </c:pt>
                <c:pt idx="1">
                  <c:v>1.1921</c:v>
                </c:pt>
                <c:pt idx="2">
                  <c:v>1.1967</c:v>
                </c:pt>
              </c:numCache>
            </c:numRef>
          </c:xVal>
          <c:yVal>
            <c:numRef>
              <c:f>Sheet1!$B$2:$B$4</c:f>
              <c:numCache>
                <c:formatCode>General</c:formatCode>
                <c:ptCount val="3"/>
                <c:pt idx="0">
                  <c:v>0.7206</c:v>
                </c:pt>
                <c:pt idx="1">
                  <c:v>0.7195</c:v>
                </c:pt>
                <c:pt idx="2">
                  <c:v>0.7201</c:v>
                </c:pt>
              </c:numCache>
            </c:numRef>
          </c:yVal>
          <c:bubbleSize>
            <c:numRef>
              <c:f>Sheet1!$C$2:$C$4</c:f>
              <c:numCache>
                <c:formatCode>General</c:formatCode>
                <c:ptCount val="3"/>
                <c:pt idx="0">
                  <c:v>297456.80799999996</c:v>
                </c:pt>
                <c:pt idx="1">
                  <c:v>277855.0291</c:v>
                </c:pt>
                <c:pt idx="2">
                  <c:v>3804955.4074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0958941743835"/>
        <c:crossBetween val="midCat"/>
      </c:valAx>
      <c:valAx>
        <c:axId val="1011451359"/>
        <c:scaling>
          <c:orientation val="minMax"/>
          <c:max val="1.2247199999999998"/>
          <c:min val="0.3356000000000000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96564395836534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a:ln w="10160">
                <a:solidFill>
                  <a:srgbClr val="BCBBBB"/>
                </a:solidFill>
              </a:ln>
            </c:spPr>
            <c:extLst>
              <c:ext xmlns:c16="http://schemas.microsoft.com/office/drawing/2014/chart" uri="{C3380CC4-5D6E-409C-BE32-E72D297353CC}">
                <c16:uniqueId val="{00000001-CFF5-4D9B-9947-2A90D7752FBB}"/>
              </c:ext>
            </c:extLst>
          </c:dPt>
          <c:dPt>
            <c:idx val="1"/>
            <c:invertIfNegative val="0"/>
            <c:bubble3D val="0"/>
            <c:spPr>
              <a:solidFill>
                <a:srgbClr val="B2DFDC"/>
              </a:solidFill>
              <a:ln w="10160">
                <a:solidFill>
                  <a:srgbClr val="8DC3C3"/>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B2DFDC"/>
              </a:solidFill>
              <a:ln w="10160">
                <a:solidFill>
                  <a:srgbClr val="8DC3C3"/>
                </a:solidFill>
              </a:ln>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CBD5937-DCB4-4DE8-A26C-35F8473C9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69033DB-22CB-4EBD-87FC-99BF37B4E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04CE267-8FE9-45C0-8BDD-23D87095C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5EF4647B-6DDB-4454-8823-CE8C13403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C524667-740E-4C33-B71D-BDDD46C725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F604D7B-0610-424A-842A-05AC7AA37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92E9DAEB-D5AC-451B-8F86-CE305EA816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5DB431C-A291-4A11-9D07-414D9B999C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2675</c:v>
                </c:pt>
                <c:pt idx="1">
                  <c:v>0.2814</c:v>
                </c:pt>
                <c:pt idx="2">
                  <c:v>0.2993</c:v>
                </c:pt>
              </c:numCache>
            </c:numRef>
          </c:xVal>
          <c:yVal>
            <c:numRef>
              <c:f>Sheet1!$B$2:$B$4</c:f>
              <c:numCache>
                <c:formatCode>General</c:formatCode>
                <c:ptCount val="3"/>
                <c:pt idx="0">
                  <c:v>0.3388</c:v>
                </c:pt>
                <c:pt idx="1">
                  <c:v>0.3546</c:v>
                </c:pt>
                <c:pt idx="2">
                  <c:v>0.3686</c:v>
                </c:pt>
              </c:numCache>
            </c:numRef>
          </c:yVal>
          <c:bubbleSize>
            <c:numRef>
              <c:f>Sheet1!$C$2:$C$4</c:f>
              <c:numCache>
                <c:formatCode>General</c:formatCode>
                <c:ptCount val="3"/>
                <c:pt idx="0">
                  <c:v>912079.5515999999</c:v>
                </c:pt>
                <c:pt idx="1">
                  <c:v>952941.4383000003</c:v>
                </c:pt>
                <c:pt idx="2">
                  <c:v>11591402.16860001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55887131003097"/>
        <c:crossBetween val="midCat"/>
      </c:valAx>
      <c:valAx>
        <c:axId val="1011451359"/>
        <c:scaling>
          <c:orientation val="minMax"/>
          <c:max val="0.8023199999999999"/>
          <c:min val="0.031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295876966929183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B2DFDC"/>
              </a:solidFill>
              <a:ln w="10160">
                <a:solidFill>
                  <a:srgbClr val="8DC3C3"/>
                </a:solidFill>
              </a:ln>
            </c:spPr>
            <c:extLst>
              <c:ext xmlns:c16="http://schemas.microsoft.com/office/drawing/2014/chart" uri="{C3380CC4-5D6E-409C-BE32-E72D297353CC}">
                <c16:uniqueId val="{00000001-CFF5-4D9B-9947-2A90D7752FBB}"/>
              </c:ext>
            </c:extLst>
          </c:dPt>
          <c:dPt>
            <c:idx val="1"/>
            <c:invertIfNegative val="0"/>
            <c:bubble3D val="0"/>
            <c:spPr>
              <a:solidFill>
                <a:srgbClr val="B2DFDC"/>
              </a:solidFill>
              <a:ln w="10160">
                <a:solidFill>
                  <a:srgbClr val="8DC3C3"/>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B2DFDC"/>
              </a:solidFill>
              <a:ln w="10160">
                <a:solidFill>
                  <a:srgbClr val="8DC3C3"/>
                </a:solidFill>
              </a:ln>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776E360-42D9-4EDF-9275-D15E157E8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EC8994C-5984-40EF-B629-BA0D7C93F5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173F411-C9C1-43E3-B665-5AB0F49BA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EC2B2A7-18CB-4371-9859-B15983BF5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52794D8-F6A6-494A-B0E5-7774D9D930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81D9661-A05B-458A-954D-9F08B7F95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CC02794-BE5E-42E9-A3FA-D675EF7BD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13C1DAF-CC87-4991-958F-5DB612E072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3511</c:v>
                </c:pt>
                <c:pt idx="1">
                  <c:v>0.3581</c:v>
                </c:pt>
                <c:pt idx="2">
                  <c:v>0.3878</c:v>
                </c:pt>
              </c:numCache>
            </c:numRef>
          </c:xVal>
          <c:yVal>
            <c:numRef>
              <c:f>Sheet1!$B$2:$B$4</c:f>
              <c:numCache>
                <c:formatCode>General</c:formatCode>
                <c:ptCount val="3"/>
                <c:pt idx="0">
                  <c:v>0.4318</c:v>
                </c:pt>
                <c:pt idx="1">
                  <c:v>0.436</c:v>
                </c:pt>
                <c:pt idx="2">
                  <c:v>0.4532</c:v>
                </c:pt>
              </c:numCache>
            </c:numRef>
          </c:yVal>
          <c:bubbleSize>
            <c:numRef>
              <c:f>Sheet1!$C$2:$C$4</c:f>
              <c:numCache>
                <c:formatCode>General</c:formatCode>
                <c:ptCount val="3"/>
                <c:pt idx="0">
                  <c:v>1299025.53</c:v>
                </c:pt>
                <c:pt idx="1">
                  <c:v>1309446.5603000002</c:v>
                </c:pt>
                <c:pt idx="2">
                  <c:v>16442909.6919000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5863635748583"/>
        <c:crossBetween val="midCat"/>
      </c:valAx>
      <c:valAx>
        <c:axId val="1011451359"/>
        <c:scaling>
          <c:orientation val="minMax"/>
          <c:max val="0.90384"/>
          <c:min val="0.10544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383256245600369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20/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chart" Target="../charts/chart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chart" Target="../charts/chart1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chart" Target="../charts/chart1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chart" Target="../charts/chart1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chart" Target="../charts/chart1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chart" Target="../charts/chart1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chart" Target="../charts/chart1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chart" Target="../charts/chart1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chart" Target="../charts/chart1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chart" Target="../charts/chart1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chart" Target="../charts/chart1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chart" Target="../charts/chart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chart" Target="../charts/chart2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chart" Target="../charts/chart2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chart" Target="../charts/chart2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chart" Target="../charts/chart2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chart" Target="../charts/chart2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chart" Target="../charts/chart2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chart" Target="../charts/chart2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chart" Target="../charts/chart2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chart" Target="../charts/chart2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chart" Target="../charts/chart2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chart" Target="../charts/chart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chart" Target="../charts/chart3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chart" Target="../charts/chart3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chart" Target="../charts/chart3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chart" Target="../charts/chart3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chart" Target="../charts/chart3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chart" Target="../charts/chart3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chart" Target="../charts/chart3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chart" Target="../charts/chart3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chart" Target="../charts/chart3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chart" Target="../charts/chart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chart" Target="../charts/chart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chart" Target="../charts/chart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chart" Target="../charts/chart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chart" Target="../charts/chart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chart" Target="../charts/chart9.xml"/><Relationship Id="rId5" Type="http://schemas.openxmlformats.org/officeDocument/2006/relationships/oleObject" Target="../embeddings/oleObject27.bin"/><Relationship Id="rId6"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99347" y="1387069"/>
            <a:ext cx="2128292" cy="1694381"/>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1450"/>
            <a:ext cx="2622359" cy="1280259"/>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99347" y="3081450"/>
            <a:ext cx="2128292" cy="1280259"/>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22359" cy="1694381"/>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0814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9934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2736445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26242" y="1387069"/>
            <a:ext cx="1901397" cy="1719443"/>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512"/>
            <a:ext cx="2849254" cy="1255197"/>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26242" y="3106512"/>
            <a:ext cx="1901397" cy="1255197"/>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49254" cy="1719443"/>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10651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2624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056717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36794" y="1387069"/>
            <a:ext cx="3590845" cy="1900861"/>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7930"/>
            <a:ext cx="1159806" cy="1073779"/>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36794" y="3287930"/>
            <a:ext cx="3590845" cy="1073779"/>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59806" cy="1900861"/>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28793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367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006851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67895" y="1387069"/>
            <a:ext cx="3559744" cy="1889111"/>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76180"/>
            <a:ext cx="1190907" cy="1085529"/>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67895" y="3276180"/>
            <a:ext cx="3559744" cy="1085529"/>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90907" cy="1889111"/>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27618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6789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286438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95227" y="1387069"/>
            <a:ext cx="3632412" cy="1914199"/>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01268"/>
            <a:ext cx="1118239" cy="1060441"/>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95227" y="3301268"/>
            <a:ext cx="3632412" cy="1060441"/>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18239" cy="1914199"/>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30126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9522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68891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60400" y="1387069"/>
            <a:ext cx="3567239" cy="189164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78713"/>
            <a:ext cx="1183412" cy="108299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60400" y="3278713"/>
            <a:ext cx="3567239" cy="1082996"/>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83412" cy="1891644"/>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27871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6040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2593181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83406" y="1387069"/>
            <a:ext cx="3944233" cy="1975916"/>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62985"/>
            <a:ext cx="806418" cy="998724"/>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83406" y="3362985"/>
            <a:ext cx="3944233" cy="998724"/>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06418" cy="1975916"/>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36298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8340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722375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402202" y="1387069"/>
            <a:ext cx="3925437" cy="1961289"/>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48358"/>
            <a:ext cx="825214" cy="1013351"/>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402202" y="3348358"/>
            <a:ext cx="3925437" cy="1013351"/>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25214" cy="1961289"/>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34835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40220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977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52129" y="1387069"/>
            <a:ext cx="3975510" cy="1985596"/>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72665"/>
            <a:ext cx="775141" cy="989044"/>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52129" y="3372665"/>
            <a:ext cx="3975510" cy="989044"/>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775141" cy="1985596"/>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3726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5212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7271294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397198" y="1387069"/>
            <a:ext cx="3930441" cy="1963962"/>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51031"/>
            <a:ext cx="820210" cy="1010678"/>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397198" y="3351031"/>
            <a:ext cx="3930441" cy="1010678"/>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820210" cy="1963962"/>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35103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39719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002199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16329" y="1387069"/>
            <a:ext cx="3711310" cy="1611429"/>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98498"/>
            <a:ext cx="1039341" cy="1363211"/>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16329" y="2998498"/>
            <a:ext cx="3711310" cy="1363211"/>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039341" cy="1611429"/>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9849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1632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412829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45385" y="1387069"/>
            <a:ext cx="2382254" cy="1688300"/>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369"/>
            <a:ext cx="2368397" cy="1286340"/>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45385" y="3075369"/>
            <a:ext cx="2382254" cy="1286340"/>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68397" cy="1688300"/>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0753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4538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5787244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28803" y="1387069"/>
            <a:ext cx="3698836" cy="1620786"/>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07855"/>
            <a:ext cx="1051815" cy="1353854"/>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28803" y="3007855"/>
            <a:ext cx="3698836" cy="1353854"/>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051815" cy="1620786"/>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0078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2880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734559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51803" y="1387069"/>
            <a:ext cx="3675836" cy="1590365"/>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77434"/>
            <a:ext cx="1074815" cy="1384275"/>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51803" y="2977434"/>
            <a:ext cx="3675836" cy="1384275"/>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074815" cy="1590365"/>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7743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5180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7699576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56437" y="1387069"/>
            <a:ext cx="3671202" cy="1577323"/>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64392"/>
            <a:ext cx="1079449" cy="1397317"/>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56437" y="2964392"/>
            <a:ext cx="3671202" cy="1397317"/>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079449" cy="1577323"/>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6439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5643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460700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41010" y="1387069"/>
            <a:ext cx="2886629" cy="1522438"/>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9507"/>
            <a:ext cx="1864022" cy="1452202"/>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41010" y="2909507"/>
            <a:ext cx="2886629" cy="1452202"/>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64022" cy="1522438"/>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095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4101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737927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40570" y="1387069"/>
            <a:ext cx="2887069" cy="1529100"/>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16169"/>
            <a:ext cx="1863582" cy="1445540"/>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40570" y="2916169"/>
            <a:ext cx="2887069" cy="1445540"/>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63582" cy="1529100"/>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161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4057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571657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60918" y="1387069"/>
            <a:ext cx="2866721" cy="1528900"/>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15969"/>
            <a:ext cx="1883930" cy="1445740"/>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60918" y="2915969"/>
            <a:ext cx="2866721" cy="1445740"/>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83930" cy="1528900"/>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159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6091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519143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39075" y="1387069"/>
            <a:ext cx="2888564" cy="1517565"/>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4634"/>
            <a:ext cx="1862087" cy="1457075"/>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39075" y="2904634"/>
            <a:ext cx="2888564" cy="1457075"/>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62087" cy="1517565"/>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0463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39075"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992317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73303" y="1387069"/>
            <a:ext cx="3654336" cy="1521431"/>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8500"/>
            <a:ext cx="1096315" cy="1453209"/>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73303" y="2908500"/>
            <a:ext cx="3654336" cy="1453209"/>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096315" cy="1521431"/>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0850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7330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187016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97273" y="1387069"/>
            <a:ext cx="3630366" cy="1495281"/>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82350"/>
            <a:ext cx="1120285" cy="1479359"/>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97273" y="2882350"/>
            <a:ext cx="3630366" cy="1479359"/>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20285" cy="1495281"/>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823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9727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1964261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625258" y="1387069"/>
            <a:ext cx="3702381" cy="1559969"/>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47038"/>
            <a:ext cx="1048270" cy="1414671"/>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625258" y="2947038"/>
            <a:ext cx="3702381" cy="1414671"/>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048270" cy="1559969"/>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94703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2525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8636422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47231" y="1387069"/>
            <a:ext cx="3580408" cy="1726490"/>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3559"/>
            <a:ext cx="1170243" cy="1248150"/>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47231" y="3113559"/>
            <a:ext cx="3580408" cy="1248150"/>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70243" cy="1726490"/>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Disposabl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1135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4723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5683077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04906" y="1387069"/>
            <a:ext cx="3622733" cy="1488069"/>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75138"/>
            <a:ext cx="1127918" cy="1486571"/>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04906" y="2875138"/>
            <a:ext cx="3622733" cy="1486571"/>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27918" cy="1488069"/>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87513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04906"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121428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25531" y="1387069"/>
            <a:ext cx="1902108" cy="1719774"/>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43"/>
            <a:ext cx="2848543" cy="1254866"/>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25531" y="3106843"/>
            <a:ext cx="1902108" cy="1254866"/>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48543" cy="1719774"/>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10684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2553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019513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26190" y="1387069"/>
            <a:ext cx="1901449" cy="1719737"/>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06"/>
            <a:ext cx="2849202" cy="1254903"/>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26190" y="3106806"/>
            <a:ext cx="1901449" cy="1254903"/>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49202" cy="1719737"/>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1068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2619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510505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26322" y="1387069"/>
            <a:ext cx="1901317" cy="1719737"/>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06"/>
            <a:ext cx="2849334" cy="1254903"/>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26322" y="3106806"/>
            <a:ext cx="1901317" cy="1254903"/>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49334" cy="1719737"/>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1068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2632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1006427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25927" y="1387069"/>
            <a:ext cx="1901712" cy="1719725"/>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794"/>
            <a:ext cx="2848939" cy="1254915"/>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25927" y="3106794"/>
            <a:ext cx="1901712" cy="1254915"/>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48939" cy="1719725"/>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10679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25927"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439636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62379" y="1387069"/>
            <a:ext cx="2365260" cy="1666292"/>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53361"/>
            <a:ext cx="2385391" cy="1308348"/>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62379" y="3053361"/>
            <a:ext cx="2365260" cy="1308348"/>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85391" cy="1666292"/>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05336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62379"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234584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4900" y="1387069"/>
            <a:ext cx="2372739" cy="1656525"/>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3594"/>
            <a:ext cx="2377912" cy="1318115"/>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4900" y="3043594"/>
            <a:ext cx="2372739" cy="1318115"/>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7912" cy="1656525"/>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04359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5490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8402701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62702" y="1387069"/>
            <a:ext cx="2364937" cy="1654650"/>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1719"/>
            <a:ext cx="2385714" cy="1319990"/>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62702" y="3041719"/>
            <a:ext cx="2364937" cy="1319990"/>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85714" cy="1654650"/>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04171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6270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509372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67313" y="1387069"/>
            <a:ext cx="2360326" cy="1653188"/>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0257"/>
            <a:ext cx="2390325" cy="1321452"/>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67313" y="3040257"/>
            <a:ext cx="2360326" cy="1321452"/>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90325" cy="1653188"/>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04025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6731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2278398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092841" y="1387069"/>
            <a:ext cx="3234798" cy="1716068"/>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3137"/>
            <a:ext cx="1515853" cy="1258572"/>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092841" y="3103137"/>
            <a:ext cx="3234798" cy="1258572"/>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15853" cy="1716068"/>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Manual Shave M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10313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9284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138973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426190" y="1387069"/>
            <a:ext cx="1901449" cy="1719737"/>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06"/>
            <a:ext cx="2849202" cy="1254903"/>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426190" y="3106806"/>
            <a:ext cx="1901449" cy="1254903"/>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49202" cy="1719737"/>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1068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426190"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058724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99323" y="1387069"/>
            <a:ext cx="2128316" cy="1689201"/>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6270"/>
            <a:ext cx="2622335" cy="1285439"/>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99323" y="3076270"/>
            <a:ext cx="2128316" cy="1285439"/>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22335" cy="1689201"/>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0762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99323"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766592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45512" y="1387069"/>
            <a:ext cx="2382127" cy="1688270"/>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339"/>
            <a:ext cx="2368524" cy="1286370"/>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45512" y="3075339"/>
            <a:ext cx="2382127" cy="1286370"/>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68524" cy="1688270"/>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07533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45512"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513336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2748328" y="1387069"/>
            <a:ext cx="3579311" cy="1684366"/>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1435"/>
            <a:ext cx="1171340" cy="1290274"/>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2748328" y="3071435"/>
            <a:ext cx="3579311" cy="1290274"/>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171340" cy="1684366"/>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Disposabl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0714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74832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904251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094251" y="1387069"/>
            <a:ext cx="3233388" cy="1688813"/>
          </a:xfrm>
          <a:prstGeom prst="rect">
            <a:avLst/>
          </a:prstGeom>
          <a:solidFill>
            <a:srgbClr val="00A097">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882"/>
            <a:ext cx="1517263" cy="1285827"/>
          </a:xfrm>
          <a:prstGeom prst="rect">
            <a:avLst/>
          </a:prstGeom>
          <a:solidFill>
            <a:srgbClr val="C0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094251" y="3075882"/>
            <a:ext cx="3233388" cy="1285827"/>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17263" cy="1688813"/>
          </a:xfrm>
          <a:prstGeom prst="rect">
            <a:avLst/>
          </a:prstGeom>
          <a:solidFill>
            <a:srgbClr val="7ECAC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463913540"/>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Manual Shave M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307588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94251"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065728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2.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C113E98-7689-4749-B74E-87793737B6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6</TotalTime>
  <Words>3116</Words>
  <Application>Microsoft Office PowerPoint</Application>
  <PresentationFormat>On-screen Show (16:9)</PresentationFormat>
  <Paragraphs>912</Paragraphs>
  <Slides>38</Slides>
  <Notes>3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48</cp:revision>
  <dcterms:created xsi:type="dcterms:W3CDTF">2024-07-05T15:31:56Z</dcterms:created>
  <dcterms:modified xsi:type="dcterms:W3CDTF">2025-08-20T09:4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